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3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4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4" r:id="rId1"/>
    <p:sldMasterId id="2147484448" r:id="rId2"/>
    <p:sldMasterId id="2147484524" r:id="rId3"/>
    <p:sldMasterId id="2147484548" r:id="rId4"/>
  </p:sldMasterIdLst>
  <p:notesMasterIdLst>
    <p:notesMasterId r:id="rId10"/>
  </p:notesMasterIdLst>
  <p:handoutMasterIdLst>
    <p:handoutMasterId r:id="rId11"/>
  </p:handoutMasterIdLst>
  <p:sldIdLst>
    <p:sldId id="1255" r:id="rId5"/>
    <p:sldId id="1219" r:id="rId6"/>
    <p:sldId id="1256" r:id="rId7"/>
    <p:sldId id="1258" r:id="rId8"/>
    <p:sldId id="1259" r:id="rId9"/>
  </p:sldIdLst>
  <p:sldSz cx="9144000" cy="5143500" type="screen16x9"/>
  <p:notesSz cx="6797675" cy="9928225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28">
          <p15:clr>
            <a:srgbClr val="A4A3A4"/>
          </p15:clr>
        </p15:guide>
        <p15:guide id="2" pos="2143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55D70"/>
    <a:srgbClr val="F56913"/>
    <a:srgbClr val="A50021"/>
    <a:srgbClr val="CC0000"/>
    <a:srgbClr val="FFFF99"/>
    <a:srgbClr val="EEB7B9"/>
    <a:srgbClr val="EFB3B9"/>
    <a:srgbClr val="E1B3B9"/>
    <a:srgbClr val="E6B3B9"/>
    <a:srgbClr val="E6B3B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5FD0F851-EC5A-4D38-B0AD-8093EC10F338}" styleName="Светлый стиль 1 - акцент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C083E6E3-FA7D-4D7B-A595-EF9225AFEA82}" styleName="Светлый стиль 1 -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8799B23B-EC83-4686-B30A-512413B5E67A}" styleName="Светлый стиль 3 -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D7AC3CCA-C797-4891-BE02-D94E43425B78}" styleName="Средний стиль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93D81CF-94F2-401A-BA57-92F5A7B2D0C5}" styleName="Средний стиль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7471" autoAdjust="0"/>
    <p:restoredTop sz="86437" autoAdjust="0"/>
  </p:normalViewPr>
  <p:slideViewPr>
    <p:cSldViewPr>
      <p:cViewPr>
        <p:scale>
          <a:sx n="153" d="100"/>
          <a:sy n="153" d="100"/>
        </p:scale>
        <p:origin x="-768" y="-72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21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60" d="100"/>
        <a:sy n="60" d="100"/>
      </p:scale>
      <p:origin x="0" y="0"/>
    </p:cViewPr>
  </p:sorterViewPr>
  <p:notesViewPr>
    <p:cSldViewPr>
      <p:cViewPr varScale="1">
        <p:scale>
          <a:sx n="79" d="100"/>
          <a:sy n="79" d="100"/>
        </p:scale>
        <p:origin x="-3936" y="-84"/>
      </p:cViewPr>
      <p:guideLst>
        <p:guide orient="horz" pos="3128"/>
        <p:guide pos="2143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title>
      <c:tx>
        <c:rich>
          <a:bodyPr/>
          <a:lstStyle/>
          <a:p>
            <a:pPr>
              <a:defRPr sz="1400" b="0"/>
            </a:pP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Период 2012 - 2023 гг.</a:t>
            </a:r>
          </a:p>
        </c:rich>
      </c:tx>
      <c:layout>
        <c:manualLayout>
          <c:xMode val="edge"/>
          <c:yMode val="edge"/>
          <c:x val="0.37366443328900728"/>
          <c:y val="4.6793294153757008E-4"/>
        </c:manualLayout>
      </c:layout>
      <c:overlay val="0"/>
      <c:spPr>
        <a:solidFill>
          <a:schemeClr val="tx2">
            <a:lumMod val="40000"/>
            <a:lumOff val="60000"/>
          </a:schemeClr>
        </a:solidFill>
      </c:spPr>
    </c:title>
    <c:autoTitleDeleted val="0"/>
    <c:plotArea>
      <c:layout/>
      <c:pie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72592746059487467"/>
          <c:y val="6.2185602565898487E-2"/>
          <c:w val="0.27407253940512599"/>
          <c:h val="0.92143868072629542"/>
        </c:manualLayout>
      </c:layout>
      <c:overlay val="0"/>
      <c:txPr>
        <a:bodyPr/>
        <a:lstStyle/>
        <a:p>
          <a:pPr>
            <a:defRPr sz="900" b="1">
              <a:latin typeface="Arial" panose="020B0604020202020204" pitchFamily="34" charset="0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zero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"/>
          <c:y val="0.30714411361700567"/>
          <c:w val="0.88870160161716694"/>
          <c:h val="0.524215480687330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ДТП</c:v>
                </c:pt>
              </c:strCache>
            </c:strRef>
          </c:tx>
          <c:spPr>
            <a:solidFill>
              <a:schemeClr val="tx1">
                <a:lumMod val="65000"/>
                <a:lumOff val="35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 b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</c:f>
              <c:strCache>
                <c:ptCount val="1"/>
                <c:pt idx="0">
                  <c:v>Сеть дорог, 2024 </c:v>
                </c:pt>
              </c:strCache>
            </c:strRef>
          </c:cat>
          <c:val>
            <c:numRef>
              <c:f>Лист1!$B$2</c:f>
              <c:numCache>
                <c:formatCode>General</c:formatCode>
                <c:ptCount val="1"/>
                <c:pt idx="0">
                  <c:v>19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68A0-4553-A298-5DA7752213FE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острадавшие</c:v>
                </c:pt>
              </c:strCache>
            </c:strRef>
          </c:tx>
          <c:spPr>
            <a:solidFill>
              <a:schemeClr val="tx1">
                <a:lumMod val="50000"/>
                <a:lumOff val="50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 b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</c:f>
              <c:strCache>
                <c:ptCount val="1"/>
                <c:pt idx="0">
                  <c:v>Сеть дорог, 2024 </c:v>
                </c:pt>
              </c:strCache>
            </c:strRef>
          </c:cat>
          <c:val>
            <c:numRef>
              <c:f>Лист1!$C$2</c:f>
              <c:numCache>
                <c:formatCode>General</c:formatCode>
                <c:ptCount val="1"/>
                <c:pt idx="0">
                  <c:v>11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68A0-4553-A298-5DA7752213FE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Погибшие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 b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</c:f>
              <c:strCache>
                <c:ptCount val="1"/>
                <c:pt idx="0">
                  <c:v>Сеть дорог, 2024 </c:v>
                </c:pt>
              </c:strCache>
            </c:strRef>
          </c:cat>
          <c:val>
            <c:numRef>
              <c:f>Лист1!$D$2</c:f>
              <c:numCache>
                <c:formatCode>General</c:formatCode>
                <c:ptCount val="1"/>
                <c:pt idx="0">
                  <c:v>3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3194-4F24-ABFC-DF322EDD008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-39"/>
        <c:axId val="129766528"/>
        <c:axId val="129768064"/>
      </c:barChart>
      <c:catAx>
        <c:axId val="129766528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one"/>
        <c:crossAx val="129768064"/>
        <c:crosses val="autoZero"/>
        <c:auto val="1"/>
        <c:lblAlgn val="ctr"/>
        <c:lblOffset val="100"/>
        <c:noMultiLvlLbl val="0"/>
      </c:catAx>
      <c:valAx>
        <c:axId val="129768064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one"/>
        <c:crossAx val="129766528"/>
        <c:crosses val="autoZero"/>
        <c:crossBetween val="between"/>
      </c:valAx>
    </c:plotArea>
    <c:legend>
      <c:legendPos val="t"/>
      <c:layout/>
      <c:overlay val="0"/>
      <c:txPr>
        <a:bodyPr/>
        <a:lstStyle/>
        <a:p>
          <a:pPr>
            <a:defRPr sz="100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defRPr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800"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"/>
          <c:y val="0.30714411361700567"/>
          <c:w val="0.88870160161716683"/>
          <c:h val="0.524215480687330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ДТП</c:v>
                </c:pt>
              </c:strCache>
            </c:strRef>
          </c:tx>
          <c:spPr>
            <a:solidFill>
              <a:srgbClr val="1F497D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chemeClr val="tx1">
                  <a:lumMod val="65000"/>
                  <a:lumOff val="35000"/>
                </a:schemeClr>
              </a:solidFill>
            </c:spPr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50" b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</c:f>
              <c:strCache>
                <c:ptCount val="1"/>
                <c:pt idx="0">
                  <c:v>Сеть дорог, 2024 </c:v>
                </c:pt>
              </c:strCache>
            </c:strRef>
          </c:cat>
          <c:val>
            <c:numRef>
              <c:f>Лист1!$B$2</c:f>
              <c:numCache>
                <c:formatCode>General</c:formatCode>
                <c:ptCount val="1"/>
                <c:pt idx="0">
                  <c:v>19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68A0-4553-A298-5DA7752213FE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острадавшие</c:v>
                </c:pt>
              </c:strCache>
            </c:strRef>
          </c:tx>
          <c:spPr>
            <a:solidFill>
              <a:schemeClr val="tx1">
                <a:lumMod val="50000"/>
                <a:lumOff val="50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 b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</c:f>
              <c:strCache>
                <c:ptCount val="1"/>
                <c:pt idx="0">
                  <c:v>Сеть дорог, 2024 </c:v>
                </c:pt>
              </c:strCache>
            </c:strRef>
          </c:cat>
          <c:val>
            <c:numRef>
              <c:f>Лист1!$C$2</c:f>
              <c:numCache>
                <c:formatCode>General</c:formatCode>
                <c:ptCount val="1"/>
                <c:pt idx="0">
                  <c:v>14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68A0-4553-A298-5DA7752213FE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Погибшие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 b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</c:f>
              <c:strCache>
                <c:ptCount val="1"/>
                <c:pt idx="0">
                  <c:v>Сеть дорог, 2024 </c:v>
                </c:pt>
              </c:strCache>
            </c:strRef>
          </c:cat>
          <c:val>
            <c:numRef>
              <c:f>Лист1!$D$2</c:f>
              <c:numCache>
                <c:formatCode>General</c:formatCode>
                <c:ptCount val="1"/>
                <c:pt idx="0">
                  <c:v>4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3194-4F24-ABFC-DF322EDD008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-39"/>
        <c:axId val="130141568"/>
        <c:axId val="130151552"/>
      </c:barChart>
      <c:catAx>
        <c:axId val="130141568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one"/>
        <c:crossAx val="130151552"/>
        <c:crosses val="autoZero"/>
        <c:auto val="1"/>
        <c:lblAlgn val="ctr"/>
        <c:lblOffset val="100"/>
        <c:noMultiLvlLbl val="0"/>
      </c:catAx>
      <c:valAx>
        <c:axId val="130151552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one"/>
        <c:crossAx val="130141568"/>
        <c:crosses val="autoZero"/>
        <c:crossBetween val="between"/>
      </c:valAx>
    </c:plotArea>
    <c:legend>
      <c:legendPos val="t"/>
      <c:layout/>
      <c:overlay val="0"/>
      <c:txPr>
        <a:bodyPr/>
        <a:lstStyle/>
        <a:p>
          <a:pPr>
            <a:defRPr sz="100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defRPr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800"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"/>
          <c:y val="0.30417845967026297"/>
          <c:w val="0.96440252815946037"/>
          <c:h val="0.524215480687330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ДТП</c:v>
                </c:pt>
              </c:strCache>
            </c:strRef>
          </c:tx>
          <c:spPr>
            <a:solidFill>
              <a:schemeClr val="tx1">
                <a:lumMod val="75000"/>
                <a:lumOff val="25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3</c:f>
              <c:strCache>
                <c:ptCount val="2"/>
                <c:pt idx="0">
                  <c:v>Крас жд, 2024</c:v>
                </c:pt>
                <c:pt idx="1">
                  <c:v>Крас жд 2025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3</c:v>
                </c:pt>
                <c:pt idx="1">
                  <c:v>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68A0-4553-A298-5DA7752213FE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острадавшие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3</c:f>
              <c:strCache>
                <c:ptCount val="2"/>
                <c:pt idx="0">
                  <c:v>Крас жд, 2024</c:v>
                </c:pt>
                <c:pt idx="1">
                  <c:v>Крас жд 2025</c:v>
                </c:pt>
              </c:strCache>
            </c:strRef>
          </c:cat>
          <c:val>
            <c:numRef>
              <c:f>Лист1!$C$2:$C$3</c:f>
              <c:numCache>
                <c:formatCode>General</c:formatCode>
                <c:ptCount val="2"/>
                <c:pt idx="0">
                  <c:v>0</c:v>
                </c:pt>
                <c:pt idx="1">
                  <c:v>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68A0-4553-A298-5DA7752213FE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Погибшие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3</c:f>
              <c:strCache>
                <c:ptCount val="2"/>
                <c:pt idx="0">
                  <c:v>Крас жд, 2024</c:v>
                </c:pt>
                <c:pt idx="1">
                  <c:v>Крас жд 2025</c:v>
                </c:pt>
              </c:strCache>
            </c:strRef>
          </c:cat>
          <c:val>
            <c:numRef>
              <c:f>Лист1!$D$2:$D$3</c:f>
              <c:numCache>
                <c:formatCode>General</c:formatCode>
                <c:ptCount val="2"/>
                <c:pt idx="0">
                  <c:v>0</c:v>
                </c:pt>
                <c:pt idx="1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3194-4F24-ABFC-DF322EDD008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-39"/>
        <c:axId val="130188416"/>
        <c:axId val="130189952"/>
      </c:barChart>
      <c:catAx>
        <c:axId val="13018841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130189952"/>
        <c:crosses val="autoZero"/>
        <c:auto val="1"/>
        <c:lblAlgn val="ctr"/>
        <c:lblOffset val="100"/>
        <c:noMultiLvlLbl val="0"/>
      </c:catAx>
      <c:valAx>
        <c:axId val="130189952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one"/>
        <c:crossAx val="130188416"/>
        <c:crosses val="autoZero"/>
        <c:crossBetween val="between"/>
      </c:valAx>
    </c:plotArea>
    <c:legend>
      <c:legendPos val="t"/>
      <c:layout/>
      <c:overlay val="0"/>
    </c:legend>
    <c:plotVisOnly val="1"/>
    <c:dispBlanksAs val="gap"/>
    <c:showDLblsOverMax val="0"/>
  </c:chart>
  <c:txPr>
    <a:bodyPr/>
    <a:lstStyle/>
    <a:p>
      <a:pPr>
        <a:defRPr sz="900"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pPr>
      <a:endParaRPr lang="ru-RU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36" tIns="45718" rIns="91436" bIns="45718" rtlCol="0"/>
          <a:lstStyle>
            <a:lvl1pPr algn="l">
              <a:defRPr sz="1200">
                <a:latin typeface="Calibri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6411"/>
          </a:xfrm>
          <a:prstGeom prst="rect">
            <a:avLst/>
          </a:prstGeom>
        </p:spPr>
        <p:txBody>
          <a:bodyPr vert="horz" lIns="91436" tIns="45718" rIns="91436" bIns="45718" rtlCol="0"/>
          <a:lstStyle>
            <a:lvl1pPr algn="r">
              <a:defRPr sz="1200">
                <a:latin typeface="Calibri" charset="0"/>
              </a:defRPr>
            </a:lvl1pPr>
          </a:lstStyle>
          <a:p>
            <a:pPr>
              <a:defRPr/>
            </a:pPr>
            <a:fld id="{6FFA2F06-8A75-4379-BB90-B49E9E5022E8}" type="datetimeFigureOut">
              <a:rPr lang="ru-RU"/>
              <a:pPr>
                <a:defRPr/>
              </a:pPr>
              <a:t>15.01.2026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30092"/>
            <a:ext cx="2945659" cy="496411"/>
          </a:xfrm>
          <a:prstGeom prst="rect">
            <a:avLst/>
          </a:prstGeom>
        </p:spPr>
        <p:txBody>
          <a:bodyPr vert="horz" lIns="91436" tIns="45718" rIns="91436" bIns="45718" rtlCol="0" anchor="b"/>
          <a:lstStyle>
            <a:lvl1pPr algn="l">
              <a:defRPr sz="1200">
                <a:latin typeface="Calibri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4" y="9430092"/>
            <a:ext cx="2945659" cy="496411"/>
          </a:xfrm>
          <a:prstGeom prst="rect">
            <a:avLst/>
          </a:prstGeom>
        </p:spPr>
        <p:txBody>
          <a:bodyPr vert="horz" lIns="91436" tIns="45718" rIns="91436" bIns="45718" rtlCol="0" anchor="b"/>
          <a:lstStyle>
            <a:lvl1pPr algn="r">
              <a:defRPr sz="1200">
                <a:latin typeface="Calibri" charset="0"/>
              </a:defRPr>
            </a:lvl1pPr>
          </a:lstStyle>
          <a:p>
            <a:pPr>
              <a:defRPr/>
            </a:pPr>
            <a:fld id="{6C7FA827-B82E-4CCA-90BA-C1DC99E0D4B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0722691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36" tIns="45718" rIns="91436" bIns="45718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411"/>
          </a:xfrm>
          <a:prstGeom prst="rect">
            <a:avLst/>
          </a:prstGeom>
        </p:spPr>
        <p:txBody>
          <a:bodyPr vert="horz" lIns="91436" tIns="45718" rIns="91436" bIns="45718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D9C3E808-1911-4954-B622-DA99DFD3192D}" type="datetimeFigureOut">
              <a:rPr lang="ru-RU"/>
              <a:pPr>
                <a:defRPr/>
              </a:pPr>
              <a:t>15.01.2026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6" tIns="45718" rIns="91436" bIns="45718" rtlCol="0" anchor="ctr"/>
          <a:lstStyle/>
          <a:p>
            <a:pPr lvl="0"/>
            <a:endParaRPr lang="ru-RU" noProof="0" smtClean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9" y="4715909"/>
            <a:ext cx="5438140" cy="4467701"/>
          </a:xfrm>
          <a:prstGeom prst="rect">
            <a:avLst/>
          </a:prstGeom>
        </p:spPr>
        <p:txBody>
          <a:bodyPr vert="horz" lIns="91436" tIns="45718" rIns="91436" bIns="45718" rtlCol="0"/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2"/>
            <a:ext cx="2945659" cy="496411"/>
          </a:xfrm>
          <a:prstGeom prst="rect">
            <a:avLst/>
          </a:prstGeom>
        </p:spPr>
        <p:txBody>
          <a:bodyPr vert="horz" lIns="91436" tIns="45718" rIns="91436" bIns="45718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4" y="9430092"/>
            <a:ext cx="2945659" cy="496411"/>
          </a:xfrm>
          <a:prstGeom prst="rect">
            <a:avLst/>
          </a:prstGeom>
        </p:spPr>
        <p:txBody>
          <a:bodyPr vert="horz" lIns="91436" tIns="45718" rIns="91436" bIns="45718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3DB8EF21-0B0C-4577-9ACD-4E38648DF0B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516534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20252">
              <a:defRPr/>
            </a:pPr>
            <a:fld id="{261505BE-E600-468C-8B49-A827479A4612}" type="slidenum">
              <a:rPr lang="ru-RU">
                <a:solidFill>
                  <a:prstClr val="black"/>
                </a:solidFill>
                <a:latin typeface="Calibri"/>
              </a:rPr>
              <a:pPr defTabSz="920252">
                <a:defRPr/>
              </a:pPr>
              <a:t>1</a:t>
            </a:fld>
            <a:endParaRPr lang="ru-RU">
              <a:solidFill>
                <a:prstClr val="black"/>
              </a:solidFill>
              <a:latin typeface="Calibri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20252">
              <a:defRPr/>
            </a:pPr>
            <a:fld id="{261505BE-E600-468C-8B49-A827479A4612}" type="slidenum">
              <a:rPr lang="ru-RU">
                <a:solidFill>
                  <a:prstClr val="black"/>
                </a:solidFill>
                <a:latin typeface="Calibri"/>
              </a:rPr>
              <a:pPr defTabSz="920252">
                <a:defRPr/>
              </a:pPr>
              <a:t>2</a:t>
            </a:fld>
            <a:endParaRPr lang="ru-RU">
              <a:solidFill>
                <a:prstClr val="black"/>
              </a:solidFill>
              <a:latin typeface="Calibri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20252">
              <a:defRPr/>
            </a:pPr>
            <a:fld id="{261505BE-E600-468C-8B49-A827479A4612}" type="slidenum">
              <a:rPr lang="ru-RU">
                <a:solidFill>
                  <a:prstClr val="black"/>
                </a:solidFill>
                <a:latin typeface="Calibri"/>
              </a:rPr>
              <a:pPr defTabSz="920252">
                <a:defRPr/>
              </a:pPr>
              <a:t>3</a:t>
            </a:fld>
            <a:endParaRPr lang="ru-RU">
              <a:solidFill>
                <a:prstClr val="black"/>
              </a:solidFill>
              <a:latin typeface="Calibri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20252">
              <a:defRPr/>
            </a:pPr>
            <a:fld id="{261505BE-E600-468C-8B49-A827479A4612}" type="slidenum">
              <a:rPr lang="ru-RU">
                <a:solidFill>
                  <a:prstClr val="black"/>
                </a:solidFill>
                <a:latin typeface="Calibri"/>
              </a:rPr>
              <a:pPr defTabSz="920252">
                <a:defRPr/>
              </a:pPr>
              <a:t>4</a:t>
            </a:fld>
            <a:endParaRPr lang="ru-RU">
              <a:solidFill>
                <a:prstClr val="black"/>
              </a:solidFill>
              <a:latin typeface="Calibri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20252">
              <a:defRPr/>
            </a:pPr>
            <a:fld id="{261505BE-E600-468C-8B49-A827479A4612}" type="slidenum">
              <a:rPr lang="ru-RU">
                <a:solidFill>
                  <a:prstClr val="black"/>
                </a:solidFill>
                <a:latin typeface="Calibri"/>
              </a:rPr>
              <a:pPr defTabSz="920252">
                <a:defRPr/>
              </a:pPr>
              <a:t>5</a:t>
            </a:fld>
            <a:endParaRPr lang="ru-RU">
              <a:solidFill>
                <a:prstClr val="black"/>
              </a:solidFill>
              <a:latin typeface="Calibri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2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 userDrawn="1"/>
        </p:nvSpPr>
        <p:spPr>
          <a:xfrm>
            <a:off x="890588" y="2517775"/>
            <a:ext cx="5513387" cy="565150"/>
          </a:xfrm>
          <a:prstGeom prst="rect">
            <a:avLst/>
          </a:prstGeom>
        </p:spPr>
        <p:txBody>
          <a:bodyPr anchor="ctr">
            <a:normAutofit/>
          </a:bodyPr>
          <a:lstStyle>
            <a:lvl1pPr defTabSz="457200" eaLnBrk="0" hangingPunct="0">
              <a:defRPr>
                <a:solidFill>
                  <a:schemeClr val="tx1"/>
                </a:solidFill>
                <a:latin typeface="Calibri" charset="0"/>
                <a:cs typeface="Arial" charset="0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Calibri" charset="0"/>
                <a:cs typeface="Arial" charset="0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Calibri" charset="0"/>
                <a:cs typeface="Arial" charset="0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Calibri" charset="0"/>
                <a:cs typeface="Arial" charset="0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Calibri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cs typeface="Arial" charset="0"/>
              </a:defRPr>
            </a:lvl9pPr>
          </a:lstStyle>
          <a:p>
            <a:pPr>
              <a:defRPr/>
            </a:pPr>
            <a:r>
              <a:rPr lang="ru-RU" sz="2200" smtClean="0">
                <a:solidFill>
                  <a:srgbClr val="FFFFFF"/>
                </a:solidFill>
                <a:latin typeface="Verdana" charset="0"/>
              </a:rPr>
              <a:t>Образец заголовка</a:t>
            </a:r>
            <a:endParaRPr lang="en-US" sz="2200" smtClean="0">
              <a:solidFill>
                <a:srgbClr val="FFFFFF"/>
              </a:solidFill>
              <a:latin typeface="Verdana" charset="0"/>
            </a:endParaRP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902401" y="4521200"/>
            <a:ext cx="4193157" cy="381396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buNone/>
              <a:defRPr sz="1000" baseline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890030" y="2625757"/>
            <a:ext cx="5514509" cy="564404"/>
          </a:xfrm>
          <a:prstGeom prst="rect">
            <a:avLst/>
          </a:prstGeom>
        </p:spPr>
        <p:txBody>
          <a:bodyPr/>
          <a:lstStyle>
            <a:lvl1pPr marL="0" marR="0" indent="0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tabLst/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noProof="0" smtClean="0"/>
              <a:t>Образец заголовка</a:t>
            </a:r>
            <a:endParaRPr lang="en-US" noProof="0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898321" y="3437382"/>
            <a:ext cx="5514509" cy="84873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29682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66688"/>
            <a:ext cx="8229600" cy="820737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375406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1"/>
          <p:cNvSpPr/>
          <p:nvPr userDrawn="1"/>
        </p:nvSpPr>
        <p:spPr>
          <a:xfrm>
            <a:off x="0" y="0"/>
            <a:ext cx="9144000" cy="4865688"/>
          </a:xfrm>
          <a:prstGeom prst="rect">
            <a:avLst/>
          </a:prstGeom>
          <a:solidFill>
            <a:srgbClr val="BFC5C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4" name="Rectangle 22"/>
          <p:cNvSpPr/>
          <p:nvPr userDrawn="1"/>
        </p:nvSpPr>
        <p:spPr>
          <a:xfrm>
            <a:off x="0" y="4875213"/>
            <a:ext cx="9144000" cy="26828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grpSp>
        <p:nvGrpSpPr>
          <p:cNvPr id="5" name="Группа 10"/>
          <p:cNvGrpSpPr>
            <a:grpSpLocks noChangeAspect="1"/>
          </p:cNvGrpSpPr>
          <p:nvPr userDrawn="1"/>
        </p:nvGrpSpPr>
        <p:grpSpPr bwMode="auto">
          <a:xfrm>
            <a:off x="8496300" y="4948238"/>
            <a:ext cx="306388" cy="136525"/>
            <a:chOff x="5385680" y="6487509"/>
            <a:chExt cx="1039813" cy="461962"/>
          </a:xfrm>
        </p:grpSpPr>
        <p:sp>
          <p:nvSpPr>
            <p:cNvPr id="6" name="Freeform 27"/>
            <p:cNvSpPr>
              <a:spLocks/>
            </p:cNvSpPr>
            <p:nvPr userDrawn="1"/>
          </p:nvSpPr>
          <p:spPr bwMode="auto">
            <a:xfrm>
              <a:off x="6048359" y="6487509"/>
              <a:ext cx="377134" cy="343786"/>
            </a:xfrm>
            <a:custGeom>
              <a:avLst/>
              <a:gdLst>
                <a:gd name="T0" fmla="*/ 2147483647 w 1195"/>
                <a:gd name="T1" fmla="*/ 2147483647 h 1091"/>
                <a:gd name="T2" fmla="*/ 2147483647 w 1195"/>
                <a:gd name="T3" fmla="*/ 2147483647 h 1091"/>
                <a:gd name="T4" fmla="*/ 2147483647 w 1195"/>
                <a:gd name="T5" fmla="*/ 2147483647 h 1091"/>
                <a:gd name="T6" fmla="*/ 2147483647 w 1195"/>
                <a:gd name="T7" fmla="*/ 2147483647 h 1091"/>
                <a:gd name="T8" fmla="*/ 2147483647 w 1195"/>
                <a:gd name="T9" fmla="*/ 2147483647 h 1091"/>
                <a:gd name="T10" fmla="*/ 2147483647 w 1195"/>
                <a:gd name="T11" fmla="*/ 2147483647 h 1091"/>
                <a:gd name="T12" fmla="*/ 2147483647 w 1195"/>
                <a:gd name="T13" fmla="*/ 2147483647 h 1091"/>
                <a:gd name="T14" fmla="*/ 2147483647 w 1195"/>
                <a:gd name="T15" fmla="*/ 2147483647 h 1091"/>
                <a:gd name="T16" fmla="*/ 2147483647 w 1195"/>
                <a:gd name="T17" fmla="*/ 2147483647 h 1091"/>
                <a:gd name="T18" fmla="*/ 2147483647 w 1195"/>
                <a:gd name="T19" fmla="*/ 2147483647 h 1091"/>
                <a:gd name="T20" fmla="*/ 2147483647 w 1195"/>
                <a:gd name="T21" fmla="*/ 2147483647 h 1091"/>
                <a:gd name="T22" fmla="*/ 2147483647 w 1195"/>
                <a:gd name="T23" fmla="*/ 2147483647 h 1091"/>
                <a:gd name="T24" fmla="*/ 2147483647 w 1195"/>
                <a:gd name="T25" fmla="*/ 2147483647 h 1091"/>
                <a:gd name="T26" fmla="*/ 2147483647 w 1195"/>
                <a:gd name="T27" fmla="*/ 2147483647 h 1091"/>
                <a:gd name="T28" fmla="*/ 2147483647 w 1195"/>
                <a:gd name="T29" fmla="*/ 2147483647 h 1091"/>
                <a:gd name="T30" fmla="*/ 2147483647 w 1195"/>
                <a:gd name="T31" fmla="*/ 2147483647 h 1091"/>
                <a:gd name="T32" fmla="*/ 2147483647 w 1195"/>
                <a:gd name="T33" fmla="*/ 2147483647 h 1091"/>
                <a:gd name="T34" fmla="*/ 2147483647 w 1195"/>
                <a:gd name="T35" fmla="*/ 2147483647 h 1091"/>
                <a:gd name="T36" fmla="*/ 2147483647 w 1195"/>
                <a:gd name="T37" fmla="*/ 2147483647 h 1091"/>
                <a:gd name="T38" fmla="*/ 2147483647 w 1195"/>
                <a:gd name="T39" fmla="*/ 2147483647 h 1091"/>
                <a:gd name="T40" fmla="*/ 2147483647 w 1195"/>
                <a:gd name="T41" fmla="*/ 2147483647 h 1091"/>
                <a:gd name="T42" fmla="*/ 2147483647 w 1195"/>
                <a:gd name="T43" fmla="*/ 2147483647 h 1091"/>
                <a:gd name="T44" fmla="*/ 2147483647 w 1195"/>
                <a:gd name="T45" fmla="*/ 2147483647 h 1091"/>
                <a:gd name="T46" fmla="*/ 2147483647 w 1195"/>
                <a:gd name="T47" fmla="*/ 2147483647 h 1091"/>
                <a:gd name="T48" fmla="*/ 2147483647 w 1195"/>
                <a:gd name="T49" fmla="*/ 2147483647 h 1091"/>
                <a:gd name="T50" fmla="*/ 2147483647 w 1195"/>
                <a:gd name="T51" fmla="*/ 2147483647 h 1091"/>
                <a:gd name="T52" fmla="*/ 2147483647 w 1195"/>
                <a:gd name="T53" fmla="*/ 2147483647 h 1091"/>
                <a:gd name="T54" fmla="*/ 2147483647 w 1195"/>
                <a:gd name="T55" fmla="*/ 2147483647 h 1091"/>
                <a:gd name="T56" fmla="*/ 2147483647 w 1195"/>
                <a:gd name="T57" fmla="*/ 2147483647 h 1091"/>
                <a:gd name="T58" fmla="*/ 2147483647 w 1195"/>
                <a:gd name="T59" fmla="*/ 2147483647 h 1091"/>
                <a:gd name="T60" fmla="*/ 2147483647 w 1195"/>
                <a:gd name="T61" fmla="*/ 2147483647 h 1091"/>
                <a:gd name="T62" fmla="*/ 2147483647 w 1195"/>
                <a:gd name="T63" fmla="*/ 2147483647 h 1091"/>
                <a:gd name="T64" fmla="*/ 2147483647 w 1195"/>
                <a:gd name="T65" fmla="*/ 2147483647 h 1091"/>
                <a:gd name="T66" fmla="*/ 2147483647 w 1195"/>
                <a:gd name="T67" fmla="*/ 2147483647 h 1091"/>
                <a:gd name="T68" fmla="*/ 2147483647 w 1195"/>
                <a:gd name="T69" fmla="*/ 2147483647 h 1091"/>
                <a:gd name="T70" fmla="*/ 2147483647 w 1195"/>
                <a:gd name="T71" fmla="*/ 2147483647 h 1091"/>
                <a:gd name="T72" fmla="*/ 2147483647 w 1195"/>
                <a:gd name="T73" fmla="*/ 2147483647 h 1091"/>
                <a:gd name="T74" fmla="*/ 2147483647 w 1195"/>
                <a:gd name="T75" fmla="*/ 2147483647 h 1091"/>
                <a:gd name="T76" fmla="*/ 2147483647 w 1195"/>
                <a:gd name="T77" fmla="*/ 2147483647 h 1091"/>
                <a:gd name="T78" fmla="*/ 2147483647 w 1195"/>
                <a:gd name="T79" fmla="*/ 2147483647 h 1091"/>
                <a:gd name="T80" fmla="*/ 2147483647 w 1195"/>
                <a:gd name="T81" fmla="*/ 2147483647 h 1091"/>
                <a:gd name="T82" fmla="*/ 2147483647 w 1195"/>
                <a:gd name="T83" fmla="*/ 2147483647 h 1091"/>
                <a:gd name="T84" fmla="*/ 2147483647 w 1195"/>
                <a:gd name="T85" fmla="*/ 2147483647 h 1091"/>
                <a:gd name="T86" fmla="*/ 2147483647 w 1195"/>
                <a:gd name="T87" fmla="*/ 2147483647 h 1091"/>
                <a:gd name="T88" fmla="*/ 2147483647 w 1195"/>
                <a:gd name="T89" fmla="*/ 2147483647 h 1091"/>
                <a:gd name="T90" fmla="*/ 2147483647 w 1195"/>
                <a:gd name="T91" fmla="*/ 0 h 1091"/>
                <a:gd name="T92" fmla="*/ 2147483647 w 1195"/>
                <a:gd name="T93" fmla="*/ 2147483647 h 1091"/>
                <a:gd name="T94" fmla="*/ 2147483647 w 1195"/>
                <a:gd name="T95" fmla="*/ 2147483647 h 1091"/>
                <a:gd name="T96" fmla="*/ 2147483647 w 1195"/>
                <a:gd name="T97" fmla="*/ 2147483647 h 1091"/>
                <a:gd name="T98" fmla="*/ 2147483647 w 1195"/>
                <a:gd name="T99" fmla="*/ 2147483647 h 1091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latin typeface="Calibri" charset="0"/>
              </a:endParaRPr>
            </a:p>
          </p:txBody>
        </p:sp>
        <p:sp>
          <p:nvSpPr>
            <p:cNvPr id="7" name="Freeform 28"/>
            <p:cNvSpPr>
              <a:spLocks/>
            </p:cNvSpPr>
            <p:nvPr userDrawn="1"/>
          </p:nvSpPr>
          <p:spPr bwMode="auto">
            <a:xfrm>
              <a:off x="5773589" y="6605685"/>
              <a:ext cx="317871" cy="225609"/>
            </a:xfrm>
            <a:custGeom>
              <a:avLst/>
              <a:gdLst>
                <a:gd name="T0" fmla="*/ 2147483647 w 1002"/>
                <a:gd name="T1" fmla="*/ 0 h 727"/>
                <a:gd name="T2" fmla="*/ 2147483647 w 1002"/>
                <a:gd name="T3" fmla="*/ 0 h 727"/>
                <a:gd name="T4" fmla="*/ 2147483647 w 1002"/>
                <a:gd name="T5" fmla="*/ 2147483647 h 727"/>
                <a:gd name="T6" fmla="*/ 0 w 1002"/>
                <a:gd name="T7" fmla="*/ 2147483647 h 727"/>
                <a:gd name="T8" fmla="*/ 2147483647 w 1002"/>
                <a:gd name="T9" fmla="*/ 0 h 72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latin typeface="Calibri" charset="0"/>
              </a:endParaRPr>
            </a:p>
          </p:txBody>
        </p:sp>
        <p:sp>
          <p:nvSpPr>
            <p:cNvPr id="8" name="Freeform 29"/>
            <p:cNvSpPr>
              <a:spLocks/>
            </p:cNvSpPr>
            <p:nvPr userDrawn="1"/>
          </p:nvSpPr>
          <p:spPr bwMode="auto">
            <a:xfrm>
              <a:off x="5385680" y="6605685"/>
              <a:ext cx="436399" cy="343786"/>
            </a:xfrm>
            <a:custGeom>
              <a:avLst/>
              <a:gdLst>
                <a:gd name="T0" fmla="*/ 0 w 1377"/>
                <a:gd name="T1" fmla="*/ 2147483647 h 1091"/>
                <a:gd name="T2" fmla="*/ 2147483647 w 1377"/>
                <a:gd name="T3" fmla="*/ 2147483647 h 1091"/>
                <a:gd name="T4" fmla="*/ 2147483647 w 1377"/>
                <a:gd name="T5" fmla="*/ 2147483647 h 1091"/>
                <a:gd name="T6" fmla="*/ 2147483647 w 1377"/>
                <a:gd name="T7" fmla="*/ 2147483647 h 1091"/>
                <a:gd name="T8" fmla="*/ 2147483647 w 1377"/>
                <a:gd name="T9" fmla="*/ 2147483647 h 1091"/>
                <a:gd name="T10" fmla="*/ 2147483647 w 1377"/>
                <a:gd name="T11" fmla="*/ 0 h 1091"/>
                <a:gd name="T12" fmla="*/ 2147483647 w 1377"/>
                <a:gd name="T13" fmla="*/ 0 h 1091"/>
                <a:gd name="T14" fmla="*/ 2147483647 w 1377"/>
                <a:gd name="T15" fmla="*/ 0 h 1091"/>
                <a:gd name="T16" fmla="*/ 2147483647 w 1377"/>
                <a:gd name="T17" fmla="*/ 2147483647 h 1091"/>
                <a:gd name="T18" fmla="*/ 2147483647 w 1377"/>
                <a:gd name="T19" fmla="*/ 2147483647 h 1091"/>
                <a:gd name="T20" fmla="*/ 2147483647 w 1377"/>
                <a:gd name="T21" fmla="*/ 2147483647 h 1091"/>
                <a:gd name="T22" fmla="*/ 2147483647 w 1377"/>
                <a:gd name="T23" fmla="*/ 2147483647 h 1091"/>
                <a:gd name="T24" fmla="*/ 2147483647 w 1377"/>
                <a:gd name="T25" fmla="*/ 2147483647 h 1091"/>
                <a:gd name="T26" fmla="*/ 2147483647 w 1377"/>
                <a:gd name="T27" fmla="*/ 2147483647 h 1091"/>
                <a:gd name="T28" fmla="*/ 2147483647 w 1377"/>
                <a:gd name="T29" fmla="*/ 2147483647 h 1091"/>
                <a:gd name="T30" fmla="*/ 2147483647 w 1377"/>
                <a:gd name="T31" fmla="*/ 2147483647 h 1091"/>
                <a:gd name="T32" fmla="*/ 2147483647 w 1377"/>
                <a:gd name="T33" fmla="*/ 2147483647 h 1091"/>
                <a:gd name="T34" fmla="*/ 2147483647 w 1377"/>
                <a:gd name="T35" fmla="*/ 2147483647 h 1091"/>
                <a:gd name="T36" fmla="*/ 2147483647 w 1377"/>
                <a:gd name="T37" fmla="*/ 2147483647 h 1091"/>
                <a:gd name="T38" fmla="*/ 2147483647 w 1377"/>
                <a:gd name="T39" fmla="*/ 2147483647 h 1091"/>
                <a:gd name="T40" fmla="*/ 2147483647 w 1377"/>
                <a:gd name="T41" fmla="*/ 2147483647 h 1091"/>
                <a:gd name="T42" fmla="*/ 2147483647 w 1377"/>
                <a:gd name="T43" fmla="*/ 2147483647 h 1091"/>
                <a:gd name="T44" fmla="*/ 2147483647 w 1377"/>
                <a:gd name="T45" fmla="*/ 2147483647 h 1091"/>
                <a:gd name="T46" fmla="*/ 2147483647 w 1377"/>
                <a:gd name="T47" fmla="*/ 2147483647 h 1091"/>
                <a:gd name="T48" fmla="*/ 2147483647 w 1377"/>
                <a:gd name="T49" fmla="*/ 2147483647 h 1091"/>
                <a:gd name="T50" fmla="*/ 2147483647 w 1377"/>
                <a:gd name="T51" fmla="*/ 2147483647 h 1091"/>
                <a:gd name="T52" fmla="*/ 2147483647 w 1377"/>
                <a:gd name="T53" fmla="*/ 2147483647 h 1091"/>
                <a:gd name="T54" fmla="*/ 2147483647 w 1377"/>
                <a:gd name="T55" fmla="*/ 2147483647 h 1091"/>
                <a:gd name="T56" fmla="*/ 2147483647 w 1377"/>
                <a:gd name="T57" fmla="*/ 2147483647 h 1091"/>
                <a:gd name="T58" fmla="*/ 2147483647 w 1377"/>
                <a:gd name="T59" fmla="*/ 2147483647 h 1091"/>
                <a:gd name="T60" fmla="*/ 2147483647 w 1377"/>
                <a:gd name="T61" fmla="*/ 2147483647 h 1091"/>
                <a:gd name="T62" fmla="*/ 2147483647 w 1377"/>
                <a:gd name="T63" fmla="*/ 2147483647 h 1091"/>
                <a:gd name="T64" fmla="*/ 2147483647 w 1377"/>
                <a:gd name="T65" fmla="*/ 2147483647 h 1091"/>
                <a:gd name="T66" fmla="*/ 2147483647 w 1377"/>
                <a:gd name="T67" fmla="*/ 2147483647 h 1091"/>
                <a:gd name="T68" fmla="*/ 0 w 1377"/>
                <a:gd name="T69" fmla="*/ 2147483647 h 1091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latin typeface="Calibri" charset="0"/>
              </a:endParaRPr>
            </a:p>
          </p:txBody>
        </p:sp>
      </p:grpSp>
      <p:sp>
        <p:nvSpPr>
          <p:cNvPr id="10" name="Text Placeholder 2"/>
          <p:cNvSpPr>
            <a:spLocks noGrp="1"/>
          </p:cNvSpPr>
          <p:nvPr>
            <p:ph type="body" idx="1"/>
          </p:nvPr>
        </p:nvSpPr>
        <p:spPr>
          <a:xfrm>
            <a:off x="219573" y="1809637"/>
            <a:ext cx="7772400" cy="112514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9991652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1" y="1200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4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200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760408" y="1025130"/>
            <a:ext cx="700088" cy="248245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815921" eaLnBrk="0" fontAlgn="auto" hangingPunct="0">
                <a:spcBef>
                  <a:spcPts val="100"/>
                </a:spcBef>
                <a:spcAft>
                  <a:spcPts val="0"/>
                </a:spcAft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070</a:t>
              </a:r>
            </a:p>
            <a:p>
              <a:pPr algn="ctr" defTabSz="815921" eaLnBrk="0" fontAlgn="auto" hangingPunct="0">
                <a:spcBef>
                  <a:spcPts val="100"/>
                </a:spcBef>
                <a:spcAft>
                  <a:spcPts val="0"/>
                </a:spcAft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093</a:t>
              </a:r>
            </a:p>
            <a:p>
              <a:pPr algn="ctr" defTabSz="815921" eaLnBrk="0" fontAlgn="auto" hangingPunct="0">
                <a:spcBef>
                  <a:spcPts val="100"/>
                </a:spcBef>
                <a:spcAft>
                  <a:spcPts val="0"/>
                </a:spcAft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815921" eaLnBrk="0" fontAlgn="auto" hangingPunct="0">
                <a:spcBef>
                  <a:spcPts val="100"/>
                </a:spcBef>
                <a:spcAft>
                  <a:spcPts val="0"/>
                </a:spcAft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192</a:t>
              </a:r>
            </a:p>
            <a:p>
              <a:pPr algn="ctr" defTabSz="815921" eaLnBrk="0" fontAlgn="auto" hangingPunct="0">
                <a:spcBef>
                  <a:spcPts val="100"/>
                </a:spcBef>
                <a:spcAft>
                  <a:spcPts val="0"/>
                </a:spcAft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0</a:t>
              </a:r>
            </a:p>
            <a:p>
              <a:pPr algn="ctr" defTabSz="815921" eaLnBrk="0" fontAlgn="auto" hangingPunct="0">
                <a:spcBef>
                  <a:spcPts val="100"/>
                </a:spcBef>
                <a:spcAft>
                  <a:spcPts val="0"/>
                </a:spcAft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815921" eaLnBrk="0" fontAlgn="auto" hangingPunct="0">
                <a:spcBef>
                  <a:spcPts val="100"/>
                </a:spcBef>
                <a:spcAft>
                  <a:spcPts val="0"/>
                </a:spcAft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134</a:t>
              </a:r>
              <a:br>
                <a:rPr lang="en-US" sz="900" b="1" dirty="0">
                  <a:solidFill>
                    <a:srgbClr val="FFFFFF"/>
                  </a:solidFill>
                  <a:latin typeface="Myriad Pro"/>
                </a:rPr>
              </a:b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158</a:t>
              </a:r>
              <a:br>
                <a:rPr lang="en-US" sz="900" b="1" dirty="0">
                  <a:solidFill>
                    <a:srgbClr val="FFFFFF"/>
                  </a:solidFill>
                  <a:latin typeface="Myriad Pro"/>
                </a:rPr>
              </a:b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815921" eaLnBrk="0" fontAlgn="auto" hangingPunct="0">
                <a:spcBef>
                  <a:spcPts val="100"/>
                </a:spcBef>
                <a:spcAft>
                  <a:spcPts val="0"/>
                </a:spcAft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174</a:t>
              </a:r>
              <a:br>
                <a:rPr lang="en-US" sz="900" b="1" dirty="0">
                  <a:solidFill>
                    <a:srgbClr val="FFFFFF"/>
                  </a:solidFill>
                  <a:latin typeface="Myriad Pro"/>
                </a:rPr>
              </a:b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191</a:t>
              </a:r>
              <a:br>
                <a:rPr lang="en-US" sz="900" b="1" dirty="0">
                  <a:solidFill>
                    <a:srgbClr val="FFFFFF"/>
                  </a:solidFill>
                  <a:latin typeface="Myriad Pro"/>
                </a:rPr>
              </a:b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815921" eaLnBrk="0" fontAlgn="auto" hangingPunct="0">
                <a:spcBef>
                  <a:spcPts val="100"/>
                </a:spcBef>
                <a:spcAft>
                  <a:spcPts val="0"/>
                </a:spcAft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127</a:t>
              </a:r>
              <a:br>
                <a:rPr lang="en-US" sz="900" b="1" dirty="0">
                  <a:solidFill>
                    <a:srgbClr val="FFFFFF"/>
                  </a:solidFill>
                  <a:latin typeface="Myriad Pro"/>
                </a:rPr>
              </a:b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127</a:t>
              </a:r>
              <a:br>
                <a:rPr lang="en-US" sz="900" b="1" dirty="0">
                  <a:solidFill>
                    <a:srgbClr val="FFFFFF"/>
                  </a:solidFill>
                  <a:latin typeface="Myriad Pro"/>
                </a:rPr>
              </a:b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127</a:t>
              </a:r>
            </a:p>
          </p:txBody>
        </p:sp>
      </p:grp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843311" y="161119"/>
            <a:ext cx="8218873" cy="431736"/>
          </a:xfrm>
          <a:prstGeom prst="rect">
            <a:avLst/>
          </a:prstGeom>
          <a:effectLst/>
        </p:spPr>
        <p:txBody>
          <a:bodyPr>
            <a:noAutofit/>
          </a:bodyPr>
          <a:lstStyle>
            <a:lvl1pPr>
              <a:defRPr sz="1500" b="1" cap="none" spc="0">
                <a:ln>
                  <a:noFill/>
                </a:ln>
                <a:solidFill>
                  <a:schemeClr val="tx1"/>
                </a:solidFill>
                <a:effectLst/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2" name="Shape 9"/>
          <p:cNvCxnSpPr>
            <a:cxnSpLocks/>
          </p:cNvCxnSpPr>
          <p:nvPr userDrawn="1"/>
        </p:nvCxnSpPr>
        <p:spPr>
          <a:xfrm flipH="1">
            <a:off x="804681" y="510323"/>
            <a:ext cx="8273654" cy="114276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6" name="Shape 9"/>
          <p:cNvCxnSpPr>
            <a:cxnSpLocks/>
          </p:cNvCxnSpPr>
          <p:nvPr userDrawn="1"/>
        </p:nvCxnSpPr>
        <p:spPr>
          <a:xfrm flipV="1">
            <a:off x="817609" y="135717"/>
            <a:ext cx="8273654" cy="114276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8" name="Текст 3">
            <a:extLst>
              <a:ext uri="{FF2B5EF4-FFF2-40B4-BE49-F238E27FC236}">
                <a16:creationId xmlns="" xmlns:a16="http://schemas.microsoft.com/office/drawing/2014/main" id="{D1233953-C014-4A54-9680-CAF1055B76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07508" y="4837419"/>
            <a:ext cx="6537228" cy="1615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endParaRPr lang="ru-RU" dirty="0">
              <a:ln w="1905"/>
              <a:latin typeface="RussianRail G Pro" pitchFamily="50" charset="-52"/>
            </a:endParaRPr>
          </a:p>
        </p:txBody>
      </p:sp>
      <p:sp>
        <p:nvSpPr>
          <p:cNvPr id="19" name="Текст 4">
            <a:extLst>
              <a:ext uri="{FF2B5EF4-FFF2-40B4-BE49-F238E27FC236}">
                <a16:creationId xmlns="" xmlns:a16="http://schemas.microsoft.com/office/drawing/2014/main" id="{9E678BBE-120B-48AB-972A-62D5A99270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466196" y="4837419"/>
            <a:ext cx="1560185" cy="1615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pPr algn="r"/>
            <a:endParaRPr lang="ru-RU" dirty="0"/>
          </a:p>
        </p:txBody>
      </p:sp>
      <p:sp>
        <p:nvSpPr>
          <p:cNvPr id="20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61225" y="4855377"/>
            <a:ext cx="579668" cy="114275"/>
          </a:xfrm>
          <a:prstGeom prst="rect">
            <a:avLst/>
          </a:prstGeom>
        </p:spPr>
        <p:txBody>
          <a:bodyPr anchor="ctr"/>
          <a:lstStyle>
            <a:lvl1pPr algn="ctr">
              <a:defRPr sz="1100" b="1"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grpSp>
        <p:nvGrpSpPr>
          <p:cNvPr id="3" name="Группа 20"/>
          <p:cNvGrpSpPr/>
          <p:nvPr userDrawn="1"/>
        </p:nvGrpSpPr>
        <p:grpSpPr>
          <a:xfrm>
            <a:off x="142931" y="207657"/>
            <a:ext cx="594227" cy="359802"/>
            <a:chOff x="8172400" y="171642"/>
            <a:chExt cx="792302" cy="479736"/>
          </a:xfrm>
        </p:grpSpPr>
        <p:sp>
          <p:nvSpPr>
            <p:cNvPr id="22" name="Прямоугольник 21"/>
            <p:cNvSpPr/>
            <p:nvPr/>
          </p:nvSpPr>
          <p:spPr>
            <a:xfrm>
              <a:off x="8172400" y="171642"/>
              <a:ext cx="792302" cy="47973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342738"/>
              <a:endParaRPr lang="ru-RU" sz="1400" dirty="0">
                <a:solidFill>
                  <a:prstClr val="white"/>
                </a:solidFill>
              </a:endParaRPr>
            </a:p>
          </p:txBody>
        </p:sp>
        <p:pic>
          <p:nvPicPr>
            <p:cNvPr id="23" name="Рисунок 22"/>
            <p:cNvPicPr>
              <a:picLocks noChangeAspect="1"/>
            </p:cNvPicPr>
            <p:nvPr/>
          </p:nvPicPr>
          <p:blipFill>
            <a:blip r:embed="rId7" cstate="print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81582" y="205643"/>
              <a:ext cx="783120" cy="41860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2540746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3087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336" tIns="45663" rIns="91336" bIns="45663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44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336" tIns="45663" rIns="91336" bIns="45663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336" tIns="45663" rIns="91336" bIns="45663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336" tIns="45663" rIns="91336" bIns="45663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60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336" tIns="45663" rIns="91336" bIns="45663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336" tIns="45663" rIns="91336" bIns="45663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5929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336" tIns="45663" rIns="91336" bIns="45663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73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336" tIns="45663" rIns="91336" bIns="45663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-7938" y="2383"/>
            <a:ext cx="9151938" cy="507206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336" tIns="45663" rIns="91336" bIns="45663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1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4" y="4247762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32" y="294027"/>
            <a:ext cx="8458241" cy="766001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0" y="4247762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91531" y="4720201"/>
            <a:ext cx="548700" cy="393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BD1E19B-3296-4208-91A2-B9E4A5DD3BE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7"/>
            <a:ext cx="28956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| Координационный Совет начальников железных дорог | 05/10/15</a:t>
            </a:r>
            <a:endParaRPr lang="en-US"/>
          </a:p>
        </p:txBody>
      </p:sp>
      <p:sp>
        <p:nvSpPr>
          <p:cNvPr id="26" name="Rectangle 17"/>
          <p:cNvSpPr>
            <a:spLocks noChangeArrowheads="1"/>
          </p:cNvSpPr>
          <p:nvPr userDrawn="1"/>
        </p:nvSpPr>
        <p:spPr bwMode="auto">
          <a:xfrm>
            <a:off x="0" y="4945857"/>
            <a:ext cx="9144000" cy="197644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336" tIns="45663" rIns="91336" bIns="45663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695531" y="4967978"/>
            <a:ext cx="406400" cy="134541"/>
            <a:chOff x="5385680" y="6487509"/>
            <a:chExt cx="1039813" cy="461962"/>
          </a:xfrm>
        </p:grpSpPr>
        <p:sp>
          <p:nvSpPr>
            <p:cNvPr id="28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494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9" name="Freeform 28"/>
            <p:cNvSpPr>
              <a:spLocks/>
            </p:cNvSpPr>
            <p:nvPr userDrawn="1"/>
          </p:nvSpPr>
          <p:spPr bwMode="auto">
            <a:xfrm>
              <a:off x="5775610" y="6601977"/>
              <a:ext cx="316818" cy="233026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30" name="Freeform 29"/>
            <p:cNvSpPr>
              <a:spLocks/>
            </p:cNvSpPr>
            <p:nvPr userDrawn="1"/>
          </p:nvSpPr>
          <p:spPr bwMode="auto">
            <a:xfrm>
              <a:off x="5385680" y="6601977"/>
              <a:ext cx="434611" cy="347494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313359199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3070790"/>
            <a:ext cx="9144000" cy="207271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3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646113" y="4143283"/>
            <a:ext cx="5486400" cy="309766"/>
          </a:xfrm>
          <a:prstGeom prst="rect">
            <a:avLst/>
          </a:prstGeom>
        </p:spPr>
        <p:txBody>
          <a:bodyPr/>
          <a:lstStyle>
            <a:lvl1pPr marL="0" indent="0" eaLnBrk="1" hangingPunct="1"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eaLnBrk="1" hangingPunct="1"/>
            <a:r>
              <a:rPr kumimoji="0" lang="ru-RU" dirty="0" smtClean="0">
                <a:ea typeface="Arial" pitchFamily="34" charset="0"/>
              </a:rPr>
              <a:t>Подзаголовок и/или имя спикера</a:t>
            </a:r>
            <a:endParaRPr kumimoji="0" lang="en-US" dirty="0" smtClean="0">
              <a:ea typeface="Arial" pitchFamily="34" charset="0"/>
            </a:endParaRPr>
          </a:p>
        </p:txBody>
      </p:sp>
      <p:sp>
        <p:nvSpPr>
          <p:cNvPr id="4" name="Заголовок 8"/>
          <p:cNvSpPr>
            <a:spLocks noGrp="1"/>
          </p:cNvSpPr>
          <p:nvPr>
            <p:ph type="title" hasCustomPrompt="1"/>
          </p:nvPr>
        </p:nvSpPr>
        <p:spPr>
          <a:xfrm>
            <a:off x="646113" y="3139878"/>
            <a:ext cx="5688632" cy="660366"/>
          </a:xfrm>
        </p:spPr>
        <p:txBody>
          <a:bodyPr>
            <a:noAutofit/>
          </a:bodyPr>
          <a:lstStyle>
            <a:lvl1pPr>
              <a:defRPr sz="2000" baseline="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 в 1 и 2 строки </a:t>
            </a:r>
            <a:br>
              <a:rPr lang="ru-RU" dirty="0" smtClean="0"/>
            </a:br>
            <a:r>
              <a:rPr lang="ru-RU" dirty="0" smtClean="0"/>
              <a:t>шрифт 20 </a:t>
            </a:r>
            <a:r>
              <a:rPr lang="ru-RU" dirty="0" err="1" smtClean="0"/>
              <a:t>разм</a:t>
            </a:r>
            <a:r>
              <a:rPr lang="ru-RU" dirty="0" smtClean="0"/>
              <a:t>. 3 строки 16 размера</a:t>
            </a:r>
            <a:endParaRPr lang="ru-RU" dirty="0"/>
          </a:p>
        </p:txBody>
      </p:sp>
      <p:sp>
        <p:nvSpPr>
          <p:cNvPr id="5" name="Текст 3"/>
          <p:cNvSpPr>
            <a:spLocks noGrp="1"/>
          </p:cNvSpPr>
          <p:nvPr>
            <p:ph type="body" sz="half" idx="10" hasCustomPrompt="1"/>
          </p:nvPr>
        </p:nvSpPr>
        <p:spPr>
          <a:xfrm>
            <a:off x="646113" y="4625862"/>
            <a:ext cx="5486400" cy="24360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Дата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62335" y="4533012"/>
            <a:ext cx="503853" cy="312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Прямоугольник 6"/>
          <p:cNvSpPr/>
          <p:nvPr userDrawn="1"/>
        </p:nvSpPr>
        <p:spPr>
          <a:xfrm>
            <a:off x="0" y="3047931"/>
            <a:ext cx="9144000" cy="3600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131528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3070790"/>
            <a:ext cx="9144000" cy="207271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3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646113" y="4143283"/>
            <a:ext cx="5486400" cy="309766"/>
          </a:xfrm>
          <a:prstGeom prst="rect">
            <a:avLst/>
          </a:prstGeom>
        </p:spPr>
        <p:txBody>
          <a:bodyPr/>
          <a:lstStyle>
            <a:lvl1pPr marL="0" indent="0" eaLnBrk="1" hangingPunct="1">
              <a:buNone/>
              <a:defRPr sz="140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eaLnBrk="1" hangingPunct="1"/>
            <a:r>
              <a:rPr kumimoji="0" lang="ru-RU" dirty="0" smtClean="0">
                <a:ea typeface="Arial" pitchFamily="34" charset="0"/>
              </a:rPr>
              <a:t>Подзаголовок и/или имя спикера</a:t>
            </a:r>
            <a:endParaRPr kumimoji="0" lang="en-US" dirty="0" smtClean="0">
              <a:ea typeface="Arial" pitchFamily="34" charset="0"/>
            </a:endParaRPr>
          </a:p>
        </p:txBody>
      </p:sp>
      <p:sp>
        <p:nvSpPr>
          <p:cNvPr id="4" name="Заголовок 8"/>
          <p:cNvSpPr>
            <a:spLocks noGrp="1"/>
          </p:cNvSpPr>
          <p:nvPr>
            <p:ph type="title" hasCustomPrompt="1"/>
          </p:nvPr>
        </p:nvSpPr>
        <p:spPr>
          <a:xfrm>
            <a:off x="646113" y="3139878"/>
            <a:ext cx="5688632" cy="660366"/>
          </a:xfrm>
        </p:spPr>
        <p:txBody>
          <a:bodyPr>
            <a:noAutofit/>
          </a:bodyPr>
          <a:lstStyle>
            <a:lvl1pPr>
              <a:defRPr sz="2000" baseline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Образец заголовка в 1 и 2 строки </a:t>
            </a:r>
            <a:br>
              <a:rPr lang="ru-RU" dirty="0" smtClean="0"/>
            </a:br>
            <a:r>
              <a:rPr lang="ru-RU" dirty="0" smtClean="0"/>
              <a:t>шрифт 20 </a:t>
            </a:r>
            <a:r>
              <a:rPr lang="ru-RU" dirty="0" err="1" smtClean="0"/>
              <a:t>разм</a:t>
            </a:r>
            <a:r>
              <a:rPr lang="ru-RU" dirty="0" smtClean="0"/>
              <a:t>. 3 строки 16 размера</a:t>
            </a:r>
            <a:endParaRPr lang="ru-RU" dirty="0"/>
          </a:p>
        </p:txBody>
      </p:sp>
      <p:sp>
        <p:nvSpPr>
          <p:cNvPr id="5" name="Текст 3"/>
          <p:cNvSpPr>
            <a:spLocks noGrp="1"/>
          </p:cNvSpPr>
          <p:nvPr>
            <p:ph type="body" sz="half" idx="10" hasCustomPrompt="1"/>
          </p:nvPr>
        </p:nvSpPr>
        <p:spPr>
          <a:xfrm>
            <a:off x="646113" y="4625862"/>
            <a:ext cx="5486400" cy="24360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Дата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62335" y="4533012"/>
            <a:ext cx="503853" cy="312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Прямоугольник 6"/>
          <p:cNvSpPr/>
          <p:nvPr userDrawn="1"/>
        </p:nvSpPr>
        <p:spPr>
          <a:xfrm>
            <a:off x="0" y="3047931"/>
            <a:ext cx="9144000" cy="3600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95572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467544" y="1203598"/>
            <a:ext cx="8047806" cy="2900412"/>
          </a:xfrm>
        </p:spPr>
        <p:txBody>
          <a:bodyPr>
            <a:normAutofit/>
          </a:bodyPr>
          <a:lstStyle>
            <a:lvl1pPr>
              <a:defRPr sz="480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0" y="699542"/>
            <a:ext cx="8244408" cy="1380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grpSp>
        <p:nvGrpSpPr>
          <p:cNvPr id="2" name="Группа 9"/>
          <p:cNvGrpSpPr/>
          <p:nvPr userDrawn="1"/>
        </p:nvGrpSpPr>
        <p:grpSpPr>
          <a:xfrm>
            <a:off x="0" y="770607"/>
            <a:ext cx="9144000" cy="103833"/>
            <a:chOff x="0" y="4085632"/>
            <a:chExt cx="9144000" cy="103833"/>
          </a:xfrm>
        </p:grpSpPr>
        <p:cxnSp>
          <p:nvCxnSpPr>
            <p:cNvPr id="5" name="Прямая соединительная линия 4"/>
            <p:cNvCxnSpPr/>
            <p:nvPr userDrawn="1"/>
          </p:nvCxnSpPr>
          <p:spPr>
            <a:xfrm>
              <a:off x="0" y="4137548"/>
              <a:ext cx="9144000" cy="0"/>
            </a:xfrm>
            <a:prstGeom prst="line">
              <a:avLst/>
            </a:prstGeom>
            <a:ln w="22225">
              <a:solidFill>
                <a:srgbClr val="ED1B2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" name="Группа 5"/>
            <p:cNvGrpSpPr/>
            <p:nvPr userDrawn="1"/>
          </p:nvGrpSpPr>
          <p:grpSpPr>
            <a:xfrm>
              <a:off x="539552" y="4085632"/>
              <a:ext cx="103833" cy="103833"/>
              <a:chOff x="395536" y="4074729"/>
              <a:chExt cx="125638" cy="125638"/>
            </a:xfrm>
          </p:grpSpPr>
          <p:sp>
            <p:nvSpPr>
              <p:cNvPr id="7" name="Овал 6"/>
              <p:cNvSpPr/>
              <p:nvPr userDrawn="1"/>
            </p:nvSpPr>
            <p:spPr>
              <a:xfrm>
                <a:off x="395536" y="4074729"/>
                <a:ext cx="125638" cy="125638"/>
              </a:xfrm>
              <a:prstGeom prst="ellipse">
                <a:avLst/>
              </a:prstGeom>
              <a:solidFill>
                <a:schemeClr val="bg1"/>
              </a:solidFill>
              <a:ln w="22225">
                <a:solidFill>
                  <a:srgbClr val="ED1B2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8" name="Овал 7"/>
              <p:cNvSpPr/>
              <p:nvPr userDrawn="1"/>
            </p:nvSpPr>
            <p:spPr>
              <a:xfrm>
                <a:off x="440158" y="4119351"/>
                <a:ext cx="36394" cy="36394"/>
              </a:xfrm>
              <a:prstGeom prst="ellipse">
                <a:avLst/>
              </a:prstGeom>
              <a:solidFill>
                <a:schemeClr val="bg1"/>
              </a:solidFill>
              <a:ln w="22225">
                <a:solidFill>
                  <a:srgbClr val="ED1B2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4220356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AutoShape 3"/>
          <p:cNvSpPr>
            <a:spLocks noChangeAspect="1" noChangeArrowheads="1" noTextEdit="1"/>
          </p:cNvSpPr>
          <p:nvPr userDrawn="1"/>
        </p:nvSpPr>
        <p:spPr bwMode="auto">
          <a:xfrm>
            <a:off x="0" y="0"/>
            <a:ext cx="9144000" cy="661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0" name="Freeform 5"/>
          <p:cNvSpPr>
            <a:spLocks/>
          </p:cNvSpPr>
          <p:nvPr userDrawn="1"/>
        </p:nvSpPr>
        <p:spPr bwMode="auto">
          <a:xfrm>
            <a:off x="0" y="15478"/>
            <a:ext cx="9144000" cy="646510"/>
          </a:xfrm>
          <a:custGeom>
            <a:avLst/>
            <a:gdLst>
              <a:gd name="T0" fmla="*/ 0 w 23040"/>
              <a:gd name="T1" fmla="*/ 1625 h 1629"/>
              <a:gd name="T2" fmla="*/ 15620 w 23040"/>
              <a:gd name="T3" fmla="*/ 1629 h 1629"/>
              <a:gd name="T4" fmla="*/ 16478 w 23040"/>
              <a:gd name="T5" fmla="*/ 1629 h 1629"/>
              <a:gd name="T6" fmla="*/ 16534 w 23040"/>
              <a:gd name="T7" fmla="*/ 1629 h 1629"/>
              <a:gd name="T8" fmla="*/ 16584 w 23040"/>
              <a:gd name="T9" fmla="*/ 1628 h 1629"/>
              <a:gd name="T10" fmla="*/ 16632 w 23040"/>
              <a:gd name="T11" fmla="*/ 1625 h 1629"/>
              <a:gd name="T12" fmla="*/ 16675 w 23040"/>
              <a:gd name="T13" fmla="*/ 1619 h 1629"/>
              <a:gd name="T14" fmla="*/ 16697 w 23040"/>
              <a:gd name="T15" fmla="*/ 1615 h 1629"/>
              <a:gd name="T16" fmla="*/ 16717 w 23040"/>
              <a:gd name="T17" fmla="*/ 1612 h 1629"/>
              <a:gd name="T18" fmla="*/ 16737 w 23040"/>
              <a:gd name="T19" fmla="*/ 1607 h 1629"/>
              <a:gd name="T20" fmla="*/ 16757 w 23040"/>
              <a:gd name="T21" fmla="*/ 1603 h 1629"/>
              <a:gd name="T22" fmla="*/ 16776 w 23040"/>
              <a:gd name="T23" fmla="*/ 1596 h 1629"/>
              <a:gd name="T24" fmla="*/ 16795 w 23040"/>
              <a:gd name="T25" fmla="*/ 1590 h 1629"/>
              <a:gd name="T26" fmla="*/ 16813 w 23040"/>
              <a:gd name="T27" fmla="*/ 1583 h 1629"/>
              <a:gd name="T28" fmla="*/ 16831 w 23040"/>
              <a:gd name="T29" fmla="*/ 1574 h 1629"/>
              <a:gd name="T30" fmla="*/ 16849 w 23040"/>
              <a:gd name="T31" fmla="*/ 1566 h 1629"/>
              <a:gd name="T32" fmla="*/ 16867 w 23040"/>
              <a:gd name="T33" fmla="*/ 1557 h 1629"/>
              <a:gd name="T34" fmla="*/ 16885 w 23040"/>
              <a:gd name="T35" fmla="*/ 1547 h 1629"/>
              <a:gd name="T36" fmla="*/ 16903 w 23040"/>
              <a:gd name="T37" fmla="*/ 1535 h 1629"/>
              <a:gd name="T38" fmla="*/ 16920 w 23040"/>
              <a:gd name="T39" fmla="*/ 1524 h 1629"/>
              <a:gd name="T40" fmla="*/ 16939 w 23040"/>
              <a:gd name="T41" fmla="*/ 1511 h 1629"/>
              <a:gd name="T42" fmla="*/ 16956 w 23040"/>
              <a:gd name="T43" fmla="*/ 1496 h 1629"/>
              <a:gd name="T44" fmla="*/ 16975 w 23040"/>
              <a:gd name="T45" fmla="*/ 1482 h 1629"/>
              <a:gd name="T46" fmla="*/ 17012 w 23040"/>
              <a:gd name="T47" fmla="*/ 1448 h 1629"/>
              <a:gd name="T48" fmla="*/ 17050 w 23040"/>
              <a:gd name="T49" fmla="*/ 1410 h 1629"/>
              <a:gd name="T50" fmla="*/ 17091 w 23040"/>
              <a:gd name="T51" fmla="*/ 1368 h 1629"/>
              <a:gd name="T52" fmla="*/ 17135 w 23040"/>
              <a:gd name="T53" fmla="*/ 1321 h 1629"/>
              <a:gd name="T54" fmla="*/ 17885 w 23040"/>
              <a:gd name="T55" fmla="*/ 472 h 1629"/>
              <a:gd name="T56" fmla="*/ 17925 w 23040"/>
              <a:gd name="T57" fmla="*/ 428 h 1629"/>
              <a:gd name="T58" fmla="*/ 17965 w 23040"/>
              <a:gd name="T59" fmla="*/ 387 h 1629"/>
              <a:gd name="T60" fmla="*/ 18004 w 23040"/>
              <a:gd name="T61" fmla="*/ 351 h 1629"/>
              <a:gd name="T62" fmla="*/ 18043 w 23040"/>
              <a:gd name="T63" fmla="*/ 317 h 1629"/>
              <a:gd name="T64" fmla="*/ 18063 w 23040"/>
              <a:gd name="T65" fmla="*/ 302 h 1629"/>
              <a:gd name="T66" fmla="*/ 18084 w 23040"/>
              <a:gd name="T67" fmla="*/ 288 h 1629"/>
              <a:gd name="T68" fmla="*/ 18102 w 23040"/>
              <a:gd name="T69" fmla="*/ 274 h 1629"/>
              <a:gd name="T70" fmla="*/ 18122 w 23040"/>
              <a:gd name="T71" fmla="*/ 262 h 1629"/>
              <a:gd name="T72" fmla="*/ 18143 w 23040"/>
              <a:gd name="T73" fmla="*/ 249 h 1629"/>
              <a:gd name="T74" fmla="*/ 18163 w 23040"/>
              <a:gd name="T75" fmla="*/ 238 h 1629"/>
              <a:gd name="T76" fmla="*/ 18183 w 23040"/>
              <a:gd name="T77" fmla="*/ 227 h 1629"/>
              <a:gd name="T78" fmla="*/ 18203 w 23040"/>
              <a:gd name="T79" fmla="*/ 217 h 1629"/>
              <a:gd name="T80" fmla="*/ 18225 w 23040"/>
              <a:gd name="T81" fmla="*/ 209 h 1629"/>
              <a:gd name="T82" fmla="*/ 18245 w 23040"/>
              <a:gd name="T83" fmla="*/ 200 h 1629"/>
              <a:gd name="T84" fmla="*/ 18266 w 23040"/>
              <a:gd name="T85" fmla="*/ 193 h 1629"/>
              <a:gd name="T86" fmla="*/ 18288 w 23040"/>
              <a:gd name="T87" fmla="*/ 184 h 1629"/>
              <a:gd name="T88" fmla="*/ 18311 w 23040"/>
              <a:gd name="T89" fmla="*/ 179 h 1629"/>
              <a:gd name="T90" fmla="*/ 18333 w 23040"/>
              <a:gd name="T91" fmla="*/ 173 h 1629"/>
              <a:gd name="T92" fmla="*/ 18356 w 23040"/>
              <a:gd name="T93" fmla="*/ 167 h 1629"/>
              <a:gd name="T94" fmla="*/ 18379 w 23040"/>
              <a:gd name="T95" fmla="*/ 163 h 1629"/>
              <a:gd name="T96" fmla="*/ 18426 w 23040"/>
              <a:gd name="T97" fmla="*/ 155 h 1629"/>
              <a:gd name="T98" fmla="*/ 18477 w 23040"/>
              <a:gd name="T99" fmla="*/ 151 h 1629"/>
              <a:gd name="T100" fmla="*/ 18528 w 23040"/>
              <a:gd name="T101" fmla="*/ 147 h 1629"/>
              <a:gd name="T102" fmla="*/ 18583 w 23040"/>
              <a:gd name="T103" fmla="*/ 145 h 1629"/>
              <a:gd name="T104" fmla="*/ 23040 w 23040"/>
              <a:gd name="T105" fmla="*/ 145 h 1629"/>
              <a:gd name="T106" fmla="*/ 23040 w 23040"/>
              <a:gd name="T107" fmla="*/ 0 h 1629"/>
              <a:gd name="T108" fmla="*/ 18585 w 23040"/>
              <a:gd name="T109" fmla="*/ 0 h 1629"/>
              <a:gd name="T110" fmla="*/ 0 w 23040"/>
              <a:gd name="T111" fmla="*/ 0 h 1629"/>
              <a:gd name="T112" fmla="*/ 0 w 23040"/>
              <a:gd name="T113" fmla="*/ 1625 h 16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3040" h="1629">
                <a:moveTo>
                  <a:pt x="0" y="1625"/>
                </a:moveTo>
                <a:lnTo>
                  <a:pt x="15620" y="1629"/>
                </a:lnTo>
                <a:lnTo>
                  <a:pt x="16478" y="1629"/>
                </a:lnTo>
                <a:lnTo>
                  <a:pt x="16534" y="1629"/>
                </a:lnTo>
                <a:lnTo>
                  <a:pt x="16584" y="1628"/>
                </a:lnTo>
                <a:lnTo>
                  <a:pt x="16632" y="1625"/>
                </a:lnTo>
                <a:lnTo>
                  <a:pt x="16675" y="1619"/>
                </a:lnTo>
                <a:lnTo>
                  <a:pt x="16697" y="1615"/>
                </a:lnTo>
                <a:lnTo>
                  <a:pt x="16717" y="1612"/>
                </a:lnTo>
                <a:lnTo>
                  <a:pt x="16737" y="1607"/>
                </a:lnTo>
                <a:lnTo>
                  <a:pt x="16757" y="1603"/>
                </a:lnTo>
                <a:lnTo>
                  <a:pt x="16776" y="1596"/>
                </a:lnTo>
                <a:lnTo>
                  <a:pt x="16795" y="1590"/>
                </a:lnTo>
                <a:lnTo>
                  <a:pt x="16813" y="1583"/>
                </a:lnTo>
                <a:lnTo>
                  <a:pt x="16831" y="1574"/>
                </a:lnTo>
                <a:lnTo>
                  <a:pt x="16849" y="1566"/>
                </a:lnTo>
                <a:lnTo>
                  <a:pt x="16867" y="1557"/>
                </a:lnTo>
                <a:lnTo>
                  <a:pt x="16885" y="1547"/>
                </a:lnTo>
                <a:lnTo>
                  <a:pt x="16903" y="1535"/>
                </a:lnTo>
                <a:lnTo>
                  <a:pt x="16920" y="1524"/>
                </a:lnTo>
                <a:lnTo>
                  <a:pt x="16939" y="1511"/>
                </a:lnTo>
                <a:lnTo>
                  <a:pt x="16956" y="1496"/>
                </a:lnTo>
                <a:lnTo>
                  <a:pt x="16975" y="1482"/>
                </a:lnTo>
                <a:lnTo>
                  <a:pt x="17012" y="1448"/>
                </a:lnTo>
                <a:lnTo>
                  <a:pt x="17050" y="1410"/>
                </a:lnTo>
                <a:lnTo>
                  <a:pt x="17091" y="1368"/>
                </a:lnTo>
                <a:lnTo>
                  <a:pt x="17135" y="1321"/>
                </a:lnTo>
                <a:lnTo>
                  <a:pt x="17885" y="472"/>
                </a:lnTo>
                <a:lnTo>
                  <a:pt x="17925" y="428"/>
                </a:lnTo>
                <a:lnTo>
                  <a:pt x="17965" y="387"/>
                </a:lnTo>
                <a:lnTo>
                  <a:pt x="18004" y="351"/>
                </a:lnTo>
                <a:lnTo>
                  <a:pt x="18043" y="317"/>
                </a:lnTo>
                <a:lnTo>
                  <a:pt x="18063" y="302"/>
                </a:lnTo>
                <a:lnTo>
                  <a:pt x="18084" y="288"/>
                </a:lnTo>
                <a:lnTo>
                  <a:pt x="18102" y="274"/>
                </a:lnTo>
                <a:lnTo>
                  <a:pt x="18122" y="262"/>
                </a:lnTo>
                <a:lnTo>
                  <a:pt x="18143" y="249"/>
                </a:lnTo>
                <a:lnTo>
                  <a:pt x="18163" y="238"/>
                </a:lnTo>
                <a:lnTo>
                  <a:pt x="18183" y="227"/>
                </a:lnTo>
                <a:lnTo>
                  <a:pt x="18203" y="217"/>
                </a:lnTo>
                <a:lnTo>
                  <a:pt x="18225" y="209"/>
                </a:lnTo>
                <a:lnTo>
                  <a:pt x="18245" y="200"/>
                </a:lnTo>
                <a:lnTo>
                  <a:pt x="18266" y="193"/>
                </a:lnTo>
                <a:lnTo>
                  <a:pt x="18288" y="184"/>
                </a:lnTo>
                <a:lnTo>
                  <a:pt x="18311" y="179"/>
                </a:lnTo>
                <a:lnTo>
                  <a:pt x="18333" y="173"/>
                </a:lnTo>
                <a:lnTo>
                  <a:pt x="18356" y="167"/>
                </a:lnTo>
                <a:lnTo>
                  <a:pt x="18379" y="163"/>
                </a:lnTo>
                <a:lnTo>
                  <a:pt x="18426" y="155"/>
                </a:lnTo>
                <a:lnTo>
                  <a:pt x="18477" y="151"/>
                </a:lnTo>
                <a:lnTo>
                  <a:pt x="18528" y="147"/>
                </a:lnTo>
                <a:lnTo>
                  <a:pt x="18583" y="145"/>
                </a:lnTo>
                <a:lnTo>
                  <a:pt x="23040" y="145"/>
                </a:lnTo>
                <a:lnTo>
                  <a:pt x="23040" y="0"/>
                </a:lnTo>
                <a:lnTo>
                  <a:pt x="18585" y="0"/>
                </a:lnTo>
                <a:lnTo>
                  <a:pt x="0" y="0"/>
                </a:lnTo>
                <a:lnTo>
                  <a:pt x="0" y="1625"/>
                </a:lnTo>
                <a:close/>
              </a:path>
            </a:pathLst>
          </a:custGeom>
          <a:solidFill>
            <a:srgbClr val="E21A1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1" name="Freeform 6"/>
          <p:cNvSpPr>
            <a:spLocks/>
          </p:cNvSpPr>
          <p:nvPr userDrawn="1"/>
        </p:nvSpPr>
        <p:spPr bwMode="auto">
          <a:xfrm>
            <a:off x="0" y="0"/>
            <a:ext cx="9144000" cy="646510"/>
          </a:xfrm>
          <a:custGeom>
            <a:avLst/>
            <a:gdLst>
              <a:gd name="T0" fmla="*/ 0 w 23040"/>
              <a:gd name="T1" fmla="*/ 1626 h 1629"/>
              <a:gd name="T2" fmla="*/ 15620 w 23040"/>
              <a:gd name="T3" fmla="*/ 1629 h 1629"/>
              <a:gd name="T4" fmla="*/ 16478 w 23040"/>
              <a:gd name="T5" fmla="*/ 1629 h 1629"/>
              <a:gd name="T6" fmla="*/ 16534 w 23040"/>
              <a:gd name="T7" fmla="*/ 1629 h 1629"/>
              <a:gd name="T8" fmla="*/ 16584 w 23040"/>
              <a:gd name="T9" fmla="*/ 1628 h 1629"/>
              <a:gd name="T10" fmla="*/ 16632 w 23040"/>
              <a:gd name="T11" fmla="*/ 1625 h 1629"/>
              <a:gd name="T12" fmla="*/ 16675 w 23040"/>
              <a:gd name="T13" fmla="*/ 1619 h 1629"/>
              <a:gd name="T14" fmla="*/ 16697 w 23040"/>
              <a:gd name="T15" fmla="*/ 1616 h 1629"/>
              <a:gd name="T16" fmla="*/ 16717 w 23040"/>
              <a:gd name="T17" fmla="*/ 1612 h 1629"/>
              <a:gd name="T18" fmla="*/ 16737 w 23040"/>
              <a:gd name="T19" fmla="*/ 1608 h 1629"/>
              <a:gd name="T20" fmla="*/ 16757 w 23040"/>
              <a:gd name="T21" fmla="*/ 1603 h 1629"/>
              <a:gd name="T22" fmla="*/ 16776 w 23040"/>
              <a:gd name="T23" fmla="*/ 1596 h 1629"/>
              <a:gd name="T24" fmla="*/ 16795 w 23040"/>
              <a:gd name="T25" fmla="*/ 1590 h 1629"/>
              <a:gd name="T26" fmla="*/ 16813 w 23040"/>
              <a:gd name="T27" fmla="*/ 1583 h 1629"/>
              <a:gd name="T28" fmla="*/ 16831 w 23040"/>
              <a:gd name="T29" fmla="*/ 1576 h 1629"/>
              <a:gd name="T30" fmla="*/ 16849 w 23040"/>
              <a:gd name="T31" fmla="*/ 1566 h 1629"/>
              <a:gd name="T32" fmla="*/ 16867 w 23040"/>
              <a:gd name="T33" fmla="*/ 1557 h 1629"/>
              <a:gd name="T34" fmla="*/ 16885 w 23040"/>
              <a:gd name="T35" fmla="*/ 1547 h 1629"/>
              <a:gd name="T36" fmla="*/ 16903 w 23040"/>
              <a:gd name="T37" fmla="*/ 1535 h 1629"/>
              <a:gd name="T38" fmla="*/ 16920 w 23040"/>
              <a:gd name="T39" fmla="*/ 1524 h 1629"/>
              <a:gd name="T40" fmla="*/ 16939 w 23040"/>
              <a:gd name="T41" fmla="*/ 1511 h 1629"/>
              <a:gd name="T42" fmla="*/ 16956 w 23040"/>
              <a:gd name="T43" fmla="*/ 1497 h 1629"/>
              <a:gd name="T44" fmla="*/ 16975 w 23040"/>
              <a:gd name="T45" fmla="*/ 1482 h 1629"/>
              <a:gd name="T46" fmla="*/ 17012 w 23040"/>
              <a:gd name="T47" fmla="*/ 1448 h 1629"/>
              <a:gd name="T48" fmla="*/ 17050 w 23040"/>
              <a:gd name="T49" fmla="*/ 1410 h 1629"/>
              <a:gd name="T50" fmla="*/ 17091 w 23040"/>
              <a:gd name="T51" fmla="*/ 1368 h 1629"/>
              <a:gd name="T52" fmla="*/ 17135 w 23040"/>
              <a:gd name="T53" fmla="*/ 1321 h 1629"/>
              <a:gd name="T54" fmla="*/ 17885 w 23040"/>
              <a:gd name="T55" fmla="*/ 472 h 1629"/>
              <a:gd name="T56" fmla="*/ 17925 w 23040"/>
              <a:gd name="T57" fmla="*/ 428 h 1629"/>
              <a:gd name="T58" fmla="*/ 17965 w 23040"/>
              <a:gd name="T59" fmla="*/ 387 h 1629"/>
              <a:gd name="T60" fmla="*/ 18004 w 23040"/>
              <a:gd name="T61" fmla="*/ 351 h 1629"/>
              <a:gd name="T62" fmla="*/ 18043 w 23040"/>
              <a:gd name="T63" fmla="*/ 317 h 1629"/>
              <a:gd name="T64" fmla="*/ 18063 w 23040"/>
              <a:gd name="T65" fmla="*/ 302 h 1629"/>
              <a:gd name="T66" fmla="*/ 18084 w 23040"/>
              <a:gd name="T67" fmla="*/ 288 h 1629"/>
              <a:gd name="T68" fmla="*/ 18102 w 23040"/>
              <a:gd name="T69" fmla="*/ 275 h 1629"/>
              <a:gd name="T70" fmla="*/ 18122 w 23040"/>
              <a:gd name="T71" fmla="*/ 262 h 1629"/>
              <a:gd name="T72" fmla="*/ 18143 w 23040"/>
              <a:gd name="T73" fmla="*/ 249 h 1629"/>
              <a:gd name="T74" fmla="*/ 18163 w 23040"/>
              <a:gd name="T75" fmla="*/ 238 h 1629"/>
              <a:gd name="T76" fmla="*/ 18183 w 23040"/>
              <a:gd name="T77" fmla="*/ 228 h 1629"/>
              <a:gd name="T78" fmla="*/ 18203 w 23040"/>
              <a:gd name="T79" fmla="*/ 218 h 1629"/>
              <a:gd name="T80" fmla="*/ 18225 w 23040"/>
              <a:gd name="T81" fmla="*/ 209 h 1629"/>
              <a:gd name="T82" fmla="*/ 18245 w 23040"/>
              <a:gd name="T83" fmla="*/ 200 h 1629"/>
              <a:gd name="T84" fmla="*/ 18266 w 23040"/>
              <a:gd name="T85" fmla="*/ 193 h 1629"/>
              <a:gd name="T86" fmla="*/ 18288 w 23040"/>
              <a:gd name="T87" fmla="*/ 186 h 1629"/>
              <a:gd name="T88" fmla="*/ 18311 w 23040"/>
              <a:gd name="T89" fmla="*/ 179 h 1629"/>
              <a:gd name="T90" fmla="*/ 18333 w 23040"/>
              <a:gd name="T91" fmla="*/ 174 h 1629"/>
              <a:gd name="T92" fmla="*/ 18356 w 23040"/>
              <a:gd name="T93" fmla="*/ 167 h 1629"/>
              <a:gd name="T94" fmla="*/ 18379 w 23040"/>
              <a:gd name="T95" fmla="*/ 164 h 1629"/>
              <a:gd name="T96" fmla="*/ 18426 w 23040"/>
              <a:gd name="T97" fmla="*/ 156 h 1629"/>
              <a:gd name="T98" fmla="*/ 18477 w 23040"/>
              <a:gd name="T99" fmla="*/ 151 h 1629"/>
              <a:gd name="T100" fmla="*/ 18528 w 23040"/>
              <a:gd name="T101" fmla="*/ 147 h 1629"/>
              <a:gd name="T102" fmla="*/ 18583 w 23040"/>
              <a:gd name="T103" fmla="*/ 145 h 1629"/>
              <a:gd name="T104" fmla="*/ 23040 w 23040"/>
              <a:gd name="T105" fmla="*/ 145 h 1629"/>
              <a:gd name="T106" fmla="*/ 23040 w 23040"/>
              <a:gd name="T107" fmla="*/ 0 h 1629"/>
              <a:gd name="T108" fmla="*/ 18585 w 23040"/>
              <a:gd name="T109" fmla="*/ 0 h 1629"/>
              <a:gd name="T110" fmla="*/ 0 w 23040"/>
              <a:gd name="T111" fmla="*/ 0 h 1629"/>
              <a:gd name="T112" fmla="*/ 0 w 23040"/>
              <a:gd name="T113" fmla="*/ 1626 h 16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3040" h="1629">
                <a:moveTo>
                  <a:pt x="0" y="1626"/>
                </a:moveTo>
                <a:lnTo>
                  <a:pt x="15620" y="1629"/>
                </a:lnTo>
                <a:lnTo>
                  <a:pt x="16478" y="1629"/>
                </a:lnTo>
                <a:lnTo>
                  <a:pt x="16534" y="1629"/>
                </a:lnTo>
                <a:lnTo>
                  <a:pt x="16584" y="1628"/>
                </a:lnTo>
                <a:lnTo>
                  <a:pt x="16632" y="1625"/>
                </a:lnTo>
                <a:lnTo>
                  <a:pt x="16675" y="1619"/>
                </a:lnTo>
                <a:lnTo>
                  <a:pt x="16697" y="1616"/>
                </a:lnTo>
                <a:lnTo>
                  <a:pt x="16717" y="1612"/>
                </a:lnTo>
                <a:lnTo>
                  <a:pt x="16737" y="1608"/>
                </a:lnTo>
                <a:lnTo>
                  <a:pt x="16757" y="1603"/>
                </a:lnTo>
                <a:lnTo>
                  <a:pt x="16776" y="1596"/>
                </a:lnTo>
                <a:lnTo>
                  <a:pt x="16795" y="1590"/>
                </a:lnTo>
                <a:lnTo>
                  <a:pt x="16813" y="1583"/>
                </a:lnTo>
                <a:lnTo>
                  <a:pt x="16831" y="1576"/>
                </a:lnTo>
                <a:lnTo>
                  <a:pt x="16849" y="1566"/>
                </a:lnTo>
                <a:lnTo>
                  <a:pt x="16867" y="1557"/>
                </a:lnTo>
                <a:lnTo>
                  <a:pt x="16885" y="1547"/>
                </a:lnTo>
                <a:lnTo>
                  <a:pt x="16903" y="1535"/>
                </a:lnTo>
                <a:lnTo>
                  <a:pt x="16920" y="1524"/>
                </a:lnTo>
                <a:lnTo>
                  <a:pt x="16939" y="1511"/>
                </a:lnTo>
                <a:lnTo>
                  <a:pt x="16956" y="1497"/>
                </a:lnTo>
                <a:lnTo>
                  <a:pt x="16975" y="1482"/>
                </a:lnTo>
                <a:lnTo>
                  <a:pt x="17012" y="1448"/>
                </a:lnTo>
                <a:lnTo>
                  <a:pt x="17050" y="1410"/>
                </a:lnTo>
                <a:lnTo>
                  <a:pt x="17091" y="1368"/>
                </a:lnTo>
                <a:lnTo>
                  <a:pt x="17135" y="1321"/>
                </a:lnTo>
                <a:lnTo>
                  <a:pt x="17885" y="472"/>
                </a:lnTo>
                <a:lnTo>
                  <a:pt x="17925" y="428"/>
                </a:lnTo>
                <a:lnTo>
                  <a:pt x="17965" y="387"/>
                </a:lnTo>
                <a:lnTo>
                  <a:pt x="18004" y="351"/>
                </a:lnTo>
                <a:lnTo>
                  <a:pt x="18043" y="317"/>
                </a:lnTo>
                <a:lnTo>
                  <a:pt x="18063" y="302"/>
                </a:lnTo>
                <a:lnTo>
                  <a:pt x="18084" y="288"/>
                </a:lnTo>
                <a:lnTo>
                  <a:pt x="18102" y="275"/>
                </a:lnTo>
                <a:lnTo>
                  <a:pt x="18122" y="262"/>
                </a:lnTo>
                <a:lnTo>
                  <a:pt x="18143" y="249"/>
                </a:lnTo>
                <a:lnTo>
                  <a:pt x="18163" y="238"/>
                </a:lnTo>
                <a:lnTo>
                  <a:pt x="18183" y="228"/>
                </a:lnTo>
                <a:lnTo>
                  <a:pt x="18203" y="218"/>
                </a:lnTo>
                <a:lnTo>
                  <a:pt x="18225" y="209"/>
                </a:lnTo>
                <a:lnTo>
                  <a:pt x="18245" y="200"/>
                </a:lnTo>
                <a:lnTo>
                  <a:pt x="18266" y="193"/>
                </a:lnTo>
                <a:lnTo>
                  <a:pt x="18288" y="186"/>
                </a:lnTo>
                <a:lnTo>
                  <a:pt x="18311" y="179"/>
                </a:lnTo>
                <a:lnTo>
                  <a:pt x="18333" y="174"/>
                </a:lnTo>
                <a:lnTo>
                  <a:pt x="18356" y="167"/>
                </a:lnTo>
                <a:lnTo>
                  <a:pt x="18379" y="164"/>
                </a:lnTo>
                <a:lnTo>
                  <a:pt x="18426" y="156"/>
                </a:lnTo>
                <a:lnTo>
                  <a:pt x="18477" y="151"/>
                </a:lnTo>
                <a:lnTo>
                  <a:pt x="18528" y="147"/>
                </a:lnTo>
                <a:lnTo>
                  <a:pt x="18583" y="145"/>
                </a:lnTo>
                <a:lnTo>
                  <a:pt x="23040" y="145"/>
                </a:lnTo>
                <a:lnTo>
                  <a:pt x="23040" y="0"/>
                </a:lnTo>
                <a:lnTo>
                  <a:pt x="18585" y="0"/>
                </a:lnTo>
                <a:lnTo>
                  <a:pt x="0" y="0"/>
                </a:lnTo>
                <a:lnTo>
                  <a:pt x="0" y="162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2" name="Заголовок 1"/>
          <p:cNvSpPr>
            <a:spLocks noGrp="1"/>
          </p:cNvSpPr>
          <p:nvPr userDrawn="1">
            <p:ph type="title"/>
          </p:nvPr>
        </p:nvSpPr>
        <p:spPr>
          <a:xfrm>
            <a:off x="0" y="0"/>
            <a:ext cx="6804248" cy="62753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1200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grpSp>
        <p:nvGrpSpPr>
          <p:cNvPr id="2" name="Группа 12"/>
          <p:cNvGrpSpPr/>
          <p:nvPr userDrawn="1"/>
        </p:nvGrpSpPr>
        <p:grpSpPr>
          <a:xfrm>
            <a:off x="7860561" y="4729766"/>
            <a:ext cx="1283439" cy="390874"/>
            <a:chOff x="9841289" y="4549776"/>
            <a:chExt cx="1887421" cy="573088"/>
          </a:xfrm>
        </p:grpSpPr>
        <p:sp>
          <p:nvSpPr>
            <p:cNvPr id="14" name="Freeform 83"/>
            <p:cNvSpPr>
              <a:spLocks noEditPoints="1"/>
            </p:cNvSpPr>
            <p:nvPr userDrawn="1"/>
          </p:nvSpPr>
          <p:spPr bwMode="auto">
            <a:xfrm>
              <a:off x="9841289" y="4549776"/>
              <a:ext cx="1887416" cy="573088"/>
            </a:xfrm>
            <a:custGeom>
              <a:avLst/>
              <a:gdLst>
                <a:gd name="T0" fmla="*/ 798 w 2898"/>
                <a:gd name="T1" fmla="*/ 1017 h 1082"/>
                <a:gd name="T2" fmla="*/ 801 w 2898"/>
                <a:gd name="T3" fmla="*/ 1017 h 1082"/>
                <a:gd name="T4" fmla="*/ 805 w 2898"/>
                <a:gd name="T5" fmla="*/ 1017 h 1082"/>
                <a:gd name="T6" fmla="*/ 808 w 2898"/>
                <a:gd name="T7" fmla="*/ 1017 h 1082"/>
                <a:gd name="T8" fmla="*/ 812 w 2898"/>
                <a:gd name="T9" fmla="*/ 1017 h 1082"/>
                <a:gd name="T10" fmla="*/ 815 w 2898"/>
                <a:gd name="T11" fmla="*/ 1017 h 1082"/>
                <a:gd name="T12" fmla="*/ 893 w 2898"/>
                <a:gd name="T13" fmla="*/ 1003 h 1082"/>
                <a:gd name="T14" fmla="*/ 1038 w 2898"/>
                <a:gd name="T15" fmla="*/ 864 h 1082"/>
                <a:gd name="T16" fmla="*/ 1381 w 2898"/>
                <a:gd name="T17" fmla="*/ 412 h 1082"/>
                <a:gd name="T18" fmla="*/ 1612 w 2898"/>
                <a:gd name="T19" fmla="*/ 257 h 1082"/>
                <a:gd name="T20" fmla="*/ 2431 w 2898"/>
                <a:gd name="T21" fmla="*/ 135 h 1082"/>
                <a:gd name="T22" fmla="*/ 2595 w 2898"/>
                <a:gd name="T23" fmla="*/ 40 h 1082"/>
                <a:gd name="T24" fmla="*/ 2802 w 2898"/>
                <a:gd name="T25" fmla="*/ 0 h 1082"/>
                <a:gd name="T26" fmla="*/ 2849 w 2898"/>
                <a:gd name="T27" fmla="*/ 40 h 1082"/>
                <a:gd name="T28" fmla="*/ 2608 w 2898"/>
                <a:gd name="T29" fmla="*/ 138 h 1082"/>
                <a:gd name="T30" fmla="*/ 2898 w 2898"/>
                <a:gd name="T31" fmla="*/ 492 h 1082"/>
                <a:gd name="T32" fmla="*/ 2898 w 2898"/>
                <a:gd name="T33" fmla="*/ 511 h 1082"/>
                <a:gd name="T34" fmla="*/ 2898 w 2898"/>
                <a:gd name="T35" fmla="*/ 530 h 1082"/>
                <a:gd name="T36" fmla="*/ 2898 w 2898"/>
                <a:gd name="T37" fmla="*/ 547 h 1082"/>
                <a:gd name="T38" fmla="*/ 2898 w 2898"/>
                <a:gd name="T39" fmla="*/ 567 h 1082"/>
                <a:gd name="T40" fmla="*/ 2898 w 2898"/>
                <a:gd name="T41" fmla="*/ 587 h 1082"/>
                <a:gd name="T42" fmla="*/ 2898 w 2898"/>
                <a:gd name="T43" fmla="*/ 604 h 1082"/>
                <a:gd name="T44" fmla="*/ 2737 w 2898"/>
                <a:gd name="T45" fmla="*/ 665 h 1082"/>
                <a:gd name="T46" fmla="*/ 2405 w 2898"/>
                <a:gd name="T47" fmla="*/ 674 h 1082"/>
                <a:gd name="T48" fmla="*/ 2279 w 2898"/>
                <a:gd name="T49" fmla="*/ 777 h 1082"/>
                <a:gd name="T50" fmla="*/ 2128 w 2898"/>
                <a:gd name="T51" fmla="*/ 935 h 1082"/>
                <a:gd name="T52" fmla="*/ 2010 w 2898"/>
                <a:gd name="T53" fmla="*/ 950 h 1082"/>
                <a:gd name="T54" fmla="*/ 1778 w 2898"/>
                <a:gd name="T55" fmla="*/ 1049 h 1082"/>
                <a:gd name="T56" fmla="*/ 1541 w 2898"/>
                <a:gd name="T57" fmla="*/ 1081 h 1082"/>
                <a:gd name="T58" fmla="*/ 1501 w 2898"/>
                <a:gd name="T59" fmla="*/ 1081 h 1082"/>
                <a:gd name="T60" fmla="*/ 1489 w 2898"/>
                <a:gd name="T61" fmla="*/ 1081 h 1082"/>
                <a:gd name="T62" fmla="*/ 1479 w 2898"/>
                <a:gd name="T63" fmla="*/ 1081 h 1082"/>
                <a:gd name="T64" fmla="*/ 1467 w 2898"/>
                <a:gd name="T65" fmla="*/ 1081 h 1082"/>
                <a:gd name="T66" fmla="*/ 1455 w 2898"/>
                <a:gd name="T67" fmla="*/ 1081 h 1082"/>
                <a:gd name="T68" fmla="*/ 1445 w 2898"/>
                <a:gd name="T69" fmla="*/ 1081 h 1082"/>
                <a:gd name="T70" fmla="*/ 1437 w 2898"/>
                <a:gd name="T71" fmla="*/ 1061 h 1082"/>
                <a:gd name="T72" fmla="*/ 1448 w 2898"/>
                <a:gd name="T73" fmla="*/ 1061 h 1082"/>
                <a:gd name="T74" fmla="*/ 1460 w 2898"/>
                <a:gd name="T75" fmla="*/ 1061 h 1082"/>
                <a:gd name="T76" fmla="*/ 1472 w 2898"/>
                <a:gd name="T77" fmla="*/ 1061 h 1082"/>
                <a:gd name="T78" fmla="*/ 1483 w 2898"/>
                <a:gd name="T79" fmla="*/ 1061 h 1082"/>
                <a:gd name="T80" fmla="*/ 1495 w 2898"/>
                <a:gd name="T81" fmla="*/ 1061 h 1082"/>
                <a:gd name="T82" fmla="*/ 1507 w 2898"/>
                <a:gd name="T83" fmla="*/ 1061 h 1082"/>
                <a:gd name="T84" fmla="*/ 1652 w 2898"/>
                <a:gd name="T85" fmla="*/ 1032 h 1082"/>
                <a:gd name="T86" fmla="*/ 1030 w 2898"/>
                <a:gd name="T87" fmla="*/ 950 h 1082"/>
                <a:gd name="T88" fmla="*/ 889 w 2898"/>
                <a:gd name="T89" fmla="*/ 1028 h 1082"/>
                <a:gd name="T90" fmla="*/ 815 w 2898"/>
                <a:gd name="T91" fmla="*/ 1037 h 1082"/>
                <a:gd name="T92" fmla="*/ 812 w 2898"/>
                <a:gd name="T93" fmla="*/ 1037 h 1082"/>
                <a:gd name="T94" fmla="*/ 808 w 2898"/>
                <a:gd name="T95" fmla="*/ 1037 h 1082"/>
                <a:gd name="T96" fmla="*/ 805 w 2898"/>
                <a:gd name="T97" fmla="*/ 1037 h 1082"/>
                <a:gd name="T98" fmla="*/ 801 w 2898"/>
                <a:gd name="T99" fmla="*/ 1037 h 1082"/>
                <a:gd name="T100" fmla="*/ 798 w 2898"/>
                <a:gd name="T101" fmla="*/ 1037 h 1082"/>
                <a:gd name="T102" fmla="*/ 55 w 2898"/>
                <a:gd name="T103" fmla="*/ 1017 h 1082"/>
                <a:gd name="T104" fmla="*/ 2019 w 2898"/>
                <a:gd name="T105" fmla="*/ 929 h 1082"/>
                <a:gd name="T106" fmla="*/ 2133 w 2898"/>
                <a:gd name="T107" fmla="*/ 907 h 1082"/>
                <a:gd name="T108" fmla="*/ 2272 w 2898"/>
                <a:gd name="T109" fmla="*/ 747 h 1082"/>
                <a:gd name="T110" fmla="*/ 1853 w 2898"/>
                <a:gd name="T111" fmla="*/ 873 h 1082"/>
                <a:gd name="T112" fmla="*/ 1421 w 2898"/>
                <a:gd name="T113" fmla="*/ 617 h 1082"/>
                <a:gd name="T114" fmla="*/ 1268 w 2898"/>
                <a:gd name="T115" fmla="*/ 672 h 10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98" h="1082">
                  <a:moveTo>
                    <a:pt x="55" y="1017"/>
                  </a:moveTo>
                  <a:lnTo>
                    <a:pt x="796" y="1017"/>
                  </a:lnTo>
                  <a:lnTo>
                    <a:pt x="796" y="1017"/>
                  </a:lnTo>
                  <a:lnTo>
                    <a:pt x="797" y="1017"/>
                  </a:lnTo>
                  <a:lnTo>
                    <a:pt x="797" y="1017"/>
                  </a:lnTo>
                  <a:lnTo>
                    <a:pt x="797" y="1017"/>
                  </a:lnTo>
                  <a:lnTo>
                    <a:pt x="797" y="1017"/>
                  </a:lnTo>
                  <a:lnTo>
                    <a:pt x="798" y="1017"/>
                  </a:lnTo>
                  <a:lnTo>
                    <a:pt x="798" y="1017"/>
                  </a:lnTo>
                  <a:lnTo>
                    <a:pt x="798" y="1017"/>
                  </a:lnTo>
                  <a:lnTo>
                    <a:pt x="799" y="1017"/>
                  </a:lnTo>
                  <a:lnTo>
                    <a:pt x="799" y="1017"/>
                  </a:lnTo>
                  <a:lnTo>
                    <a:pt x="799" y="1017"/>
                  </a:lnTo>
                  <a:lnTo>
                    <a:pt x="799" y="1017"/>
                  </a:lnTo>
                  <a:lnTo>
                    <a:pt x="800" y="1017"/>
                  </a:lnTo>
                  <a:lnTo>
                    <a:pt x="800" y="1017"/>
                  </a:lnTo>
                  <a:lnTo>
                    <a:pt x="800" y="1017"/>
                  </a:lnTo>
                  <a:lnTo>
                    <a:pt x="801" y="1017"/>
                  </a:lnTo>
                  <a:lnTo>
                    <a:pt x="801" y="1017"/>
                  </a:lnTo>
                  <a:lnTo>
                    <a:pt x="801" y="1017"/>
                  </a:lnTo>
                  <a:lnTo>
                    <a:pt x="801" y="1017"/>
                  </a:lnTo>
                  <a:lnTo>
                    <a:pt x="803" y="1017"/>
                  </a:lnTo>
                  <a:lnTo>
                    <a:pt x="803" y="1017"/>
                  </a:lnTo>
                  <a:lnTo>
                    <a:pt x="803" y="1017"/>
                  </a:lnTo>
                  <a:lnTo>
                    <a:pt x="804" y="1017"/>
                  </a:lnTo>
                  <a:lnTo>
                    <a:pt x="804" y="1017"/>
                  </a:lnTo>
                  <a:lnTo>
                    <a:pt x="804" y="1017"/>
                  </a:lnTo>
                  <a:lnTo>
                    <a:pt x="804" y="1017"/>
                  </a:lnTo>
                  <a:lnTo>
                    <a:pt x="805" y="1017"/>
                  </a:lnTo>
                  <a:lnTo>
                    <a:pt x="805" y="1017"/>
                  </a:lnTo>
                  <a:lnTo>
                    <a:pt x="805" y="1017"/>
                  </a:lnTo>
                  <a:lnTo>
                    <a:pt x="806" y="1017"/>
                  </a:lnTo>
                  <a:lnTo>
                    <a:pt x="806" y="1017"/>
                  </a:lnTo>
                  <a:lnTo>
                    <a:pt x="806" y="1017"/>
                  </a:lnTo>
                  <a:lnTo>
                    <a:pt x="806" y="1017"/>
                  </a:lnTo>
                  <a:lnTo>
                    <a:pt x="807" y="1017"/>
                  </a:lnTo>
                  <a:lnTo>
                    <a:pt x="807" y="1017"/>
                  </a:lnTo>
                  <a:lnTo>
                    <a:pt x="807" y="1017"/>
                  </a:lnTo>
                  <a:lnTo>
                    <a:pt x="808" y="1017"/>
                  </a:lnTo>
                  <a:lnTo>
                    <a:pt x="808" y="1017"/>
                  </a:lnTo>
                  <a:lnTo>
                    <a:pt x="808" y="1017"/>
                  </a:lnTo>
                  <a:lnTo>
                    <a:pt x="810" y="1017"/>
                  </a:lnTo>
                  <a:lnTo>
                    <a:pt x="810" y="1017"/>
                  </a:lnTo>
                  <a:lnTo>
                    <a:pt x="810" y="1017"/>
                  </a:lnTo>
                  <a:lnTo>
                    <a:pt x="810" y="1017"/>
                  </a:lnTo>
                  <a:lnTo>
                    <a:pt x="811" y="1017"/>
                  </a:lnTo>
                  <a:lnTo>
                    <a:pt x="811" y="1017"/>
                  </a:lnTo>
                  <a:lnTo>
                    <a:pt x="811" y="1017"/>
                  </a:lnTo>
                  <a:lnTo>
                    <a:pt x="812" y="1017"/>
                  </a:lnTo>
                  <a:lnTo>
                    <a:pt x="812" y="1017"/>
                  </a:lnTo>
                  <a:lnTo>
                    <a:pt x="812" y="1017"/>
                  </a:lnTo>
                  <a:lnTo>
                    <a:pt x="812" y="1017"/>
                  </a:lnTo>
                  <a:lnTo>
                    <a:pt x="813" y="1017"/>
                  </a:lnTo>
                  <a:lnTo>
                    <a:pt x="813" y="1017"/>
                  </a:lnTo>
                  <a:lnTo>
                    <a:pt x="813" y="1017"/>
                  </a:lnTo>
                  <a:lnTo>
                    <a:pt x="814" y="1017"/>
                  </a:lnTo>
                  <a:lnTo>
                    <a:pt x="814" y="1017"/>
                  </a:lnTo>
                  <a:lnTo>
                    <a:pt x="814" y="1017"/>
                  </a:lnTo>
                  <a:lnTo>
                    <a:pt x="814" y="1017"/>
                  </a:lnTo>
                  <a:lnTo>
                    <a:pt x="815" y="1017"/>
                  </a:lnTo>
                  <a:lnTo>
                    <a:pt x="815" y="1017"/>
                  </a:lnTo>
                  <a:lnTo>
                    <a:pt x="815" y="1017"/>
                  </a:lnTo>
                  <a:lnTo>
                    <a:pt x="817" y="1017"/>
                  </a:lnTo>
                  <a:lnTo>
                    <a:pt x="817" y="1017"/>
                  </a:lnTo>
                  <a:lnTo>
                    <a:pt x="817" y="1017"/>
                  </a:lnTo>
                  <a:lnTo>
                    <a:pt x="817" y="1017"/>
                  </a:lnTo>
                  <a:lnTo>
                    <a:pt x="836" y="1017"/>
                  </a:lnTo>
                  <a:lnTo>
                    <a:pt x="855" y="1014"/>
                  </a:lnTo>
                  <a:lnTo>
                    <a:pt x="874" y="1010"/>
                  </a:lnTo>
                  <a:lnTo>
                    <a:pt x="893" y="1003"/>
                  </a:lnTo>
                  <a:lnTo>
                    <a:pt x="911" y="993"/>
                  </a:lnTo>
                  <a:lnTo>
                    <a:pt x="930" y="981"/>
                  </a:lnTo>
                  <a:lnTo>
                    <a:pt x="949" y="966"/>
                  </a:lnTo>
                  <a:lnTo>
                    <a:pt x="968" y="950"/>
                  </a:lnTo>
                  <a:lnTo>
                    <a:pt x="113" y="950"/>
                  </a:lnTo>
                  <a:lnTo>
                    <a:pt x="131" y="929"/>
                  </a:lnTo>
                  <a:lnTo>
                    <a:pt x="987" y="929"/>
                  </a:lnTo>
                  <a:lnTo>
                    <a:pt x="993" y="923"/>
                  </a:lnTo>
                  <a:lnTo>
                    <a:pt x="998" y="917"/>
                  </a:lnTo>
                  <a:lnTo>
                    <a:pt x="1038" y="864"/>
                  </a:lnTo>
                  <a:lnTo>
                    <a:pt x="1077" y="813"/>
                  </a:lnTo>
                  <a:lnTo>
                    <a:pt x="1117" y="760"/>
                  </a:lnTo>
                  <a:lnTo>
                    <a:pt x="1157" y="708"/>
                  </a:lnTo>
                  <a:lnTo>
                    <a:pt x="1197" y="655"/>
                  </a:lnTo>
                  <a:lnTo>
                    <a:pt x="1238" y="602"/>
                  </a:lnTo>
                  <a:lnTo>
                    <a:pt x="1278" y="549"/>
                  </a:lnTo>
                  <a:lnTo>
                    <a:pt x="1317" y="497"/>
                  </a:lnTo>
                  <a:lnTo>
                    <a:pt x="1338" y="466"/>
                  </a:lnTo>
                  <a:lnTo>
                    <a:pt x="1359" y="438"/>
                  </a:lnTo>
                  <a:lnTo>
                    <a:pt x="1381" y="412"/>
                  </a:lnTo>
                  <a:lnTo>
                    <a:pt x="1402" y="388"/>
                  </a:lnTo>
                  <a:lnTo>
                    <a:pt x="1424" y="366"/>
                  </a:lnTo>
                  <a:lnTo>
                    <a:pt x="1446" y="346"/>
                  </a:lnTo>
                  <a:lnTo>
                    <a:pt x="1469" y="327"/>
                  </a:lnTo>
                  <a:lnTo>
                    <a:pt x="1492" y="311"/>
                  </a:lnTo>
                  <a:lnTo>
                    <a:pt x="1515" y="295"/>
                  </a:lnTo>
                  <a:lnTo>
                    <a:pt x="1538" y="282"/>
                  </a:lnTo>
                  <a:lnTo>
                    <a:pt x="1563" y="272"/>
                  </a:lnTo>
                  <a:lnTo>
                    <a:pt x="1588" y="264"/>
                  </a:lnTo>
                  <a:lnTo>
                    <a:pt x="1612" y="257"/>
                  </a:lnTo>
                  <a:lnTo>
                    <a:pt x="1637" y="252"/>
                  </a:lnTo>
                  <a:lnTo>
                    <a:pt x="1662" y="249"/>
                  </a:lnTo>
                  <a:lnTo>
                    <a:pt x="1688" y="249"/>
                  </a:lnTo>
                  <a:lnTo>
                    <a:pt x="2328" y="249"/>
                  </a:lnTo>
                  <a:lnTo>
                    <a:pt x="2352" y="217"/>
                  </a:lnTo>
                  <a:lnTo>
                    <a:pt x="2377" y="188"/>
                  </a:lnTo>
                  <a:lnTo>
                    <a:pt x="2390" y="174"/>
                  </a:lnTo>
                  <a:lnTo>
                    <a:pt x="2403" y="161"/>
                  </a:lnTo>
                  <a:lnTo>
                    <a:pt x="2417" y="148"/>
                  </a:lnTo>
                  <a:lnTo>
                    <a:pt x="2431" y="135"/>
                  </a:lnTo>
                  <a:lnTo>
                    <a:pt x="2446" y="123"/>
                  </a:lnTo>
                  <a:lnTo>
                    <a:pt x="2462" y="113"/>
                  </a:lnTo>
                  <a:lnTo>
                    <a:pt x="2477" y="101"/>
                  </a:lnTo>
                  <a:lnTo>
                    <a:pt x="2492" y="92"/>
                  </a:lnTo>
                  <a:lnTo>
                    <a:pt x="2508" y="81"/>
                  </a:lnTo>
                  <a:lnTo>
                    <a:pt x="2525" y="72"/>
                  </a:lnTo>
                  <a:lnTo>
                    <a:pt x="2541" y="64"/>
                  </a:lnTo>
                  <a:lnTo>
                    <a:pt x="2559" y="55"/>
                  </a:lnTo>
                  <a:lnTo>
                    <a:pt x="2577" y="47"/>
                  </a:lnTo>
                  <a:lnTo>
                    <a:pt x="2595" y="40"/>
                  </a:lnTo>
                  <a:lnTo>
                    <a:pt x="2614" y="34"/>
                  </a:lnTo>
                  <a:lnTo>
                    <a:pt x="2632" y="28"/>
                  </a:lnTo>
                  <a:lnTo>
                    <a:pt x="2652" y="23"/>
                  </a:lnTo>
                  <a:lnTo>
                    <a:pt x="2672" y="18"/>
                  </a:lnTo>
                  <a:lnTo>
                    <a:pt x="2693" y="13"/>
                  </a:lnTo>
                  <a:lnTo>
                    <a:pt x="2713" y="10"/>
                  </a:lnTo>
                  <a:lnTo>
                    <a:pt x="2735" y="6"/>
                  </a:lnTo>
                  <a:lnTo>
                    <a:pt x="2756" y="4"/>
                  </a:lnTo>
                  <a:lnTo>
                    <a:pt x="2779" y="3"/>
                  </a:lnTo>
                  <a:lnTo>
                    <a:pt x="2802" y="0"/>
                  </a:lnTo>
                  <a:lnTo>
                    <a:pt x="2825" y="0"/>
                  </a:lnTo>
                  <a:lnTo>
                    <a:pt x="2849" y="0"/>
                  </a:lnTo>
                  <a:lnTo>
                    <a:pt x="2873" y="0"/>
                  </a:lnTo>
                  <a:lnTo>
                    <a:pt x="2898" y="1"/>
                  </a:lnTo>
                  <a:lnTo>
                    <a:pt x="2898" y="11"/>
                  </a:lnTo>
                  <a:lnTo>
                    <a:pt x="2898" y="20"/>
                  </a:lnTo>
                  <a:lnTo>
                    <a:pt x="2898" y="30"/>
                  </a:lnTo>
                  <a:lnTo>
                    <a:pt x="2898" y="39"/>
                  </a:lnTo>
                  <a:lnTo>
                    <a:pt x="2873" y="39"/>
                  </a:lnTo>
                  <a:lnTo>
                    <a:pt x="2849" y="40"/>
                  </a:lnTo>
                  <a:lnTo>
                    <a:pt x="2824" y="42"/>
                  </a:lnTo>
                  <a:lnTo>
                    <a:pt x="2800" y="46"/>
                  </a:lnTo>
                  <a:lnTo>
                    <a:pt x="2775" y="52"/>
                  </a:lnTo>
                  <a:lnTo>
                    <a:pt x="2751" y="59"/>
                  </a:lnTo>
                  <a:lnTo>
                    <a:pt x="2727" y="67"/>
                  </a:lnTo>
                  <a:lnTo>
                    <a:pt x="2703" y="78"/>
                  </a:lnTo>
                  <a:lnTo>
                    <a:pt x="2679" y="89"/>
                  </a:lnTo>
                  <a:lnTo>
                    <a:pt x="2655" y="103"/>
                  </a:lnTo>
                  <a:lnTo>
                    <a:pt x="2631" y="120"/>
                  </a:lnTo>
                  <a:lnTo>
                    <a:pt x="2608" y="138"/>
                  </a:lnTo>
                  <a:lnTo>
                    <a:pt x="2584" y="158"/>
                  </a:lnTo>
                  <a:lnTo>
                    <a:pt x="2561" y="181"/>
                  </a:lnTo>
                  <a:lnTo>
                    <a:pt x="2538" y="206"/>
                  </a:lnTo>
                  <a:lnTo>
                    <a:pt x="2514" y="233"/>
                  </a:lnTo>
                  <a:lnTo>
                    <a:pt x="2504" y="249"/>
                  </a:lnTo>
                  <a:lnTo>
                    <a:pt x="2898" y="249"/>
                  </a:lnTo>
                  <a:lnTo>
                    <a:pt x="2898" y="486"/>
                  </a:lnTo>
                  <a:lnTo>
                    <a:pt x="2898" y="489"/>
                  </a:lnTo>
                  <a:lnTo>
                    <a:pt x="2898" y="490"/>
                  </a:lnTo>
                  <a:lnTo>
                    <a:pt x="2898" y="492"/>
                  </a:lnTo>
                  <a:lnTo>
                    <a:pt x="2898" y="494"/>
                  </a:lnTo>
                  <a:lnTo>
                    <a:pt x="2898" y="496"/>
                  </a:lnTo>
                  <a:lnTo>
                    <a:pt x="2898" y="497"/>
                  </a:lnTo>
                  <a:lnTo>
                    <a:pt x="2898" y="500"/>
                  </a:lnTo>
                  <a:lnTo>
                    <a:pt x="2898" y="500"/>
                  </a:lnTo>
                  <a:lnTo>
                    <a:pt x="2898" y="503"/>
                  </a:lnTo>
                  <a:lnTo>
                    <a:pt x="2898" y="506"/>
                  </a:lnTo>
                  <a:lnTo>
                    <a:pt x="2898" y="506"/>
                  </a:lnTo>
                  <a:lnTo>
                    <a:pt x="2898" y="508"/>
                  </a:lnTo>
                  <a:lnTo>
                    <a:pt x="2898" y="511"/>
                  </a:lnTo>
                  <a:lnTo>
                    <a:pt x="2898" y="512"/>
                  </a:lnTo>
                  <a:lnTo>
                    <a:pt x="2898" y="514"/>
                  </a:lnTo>
                  <a:lnTo>
                    <a:pt x="2898" y="517"/>
                  </a:lnTo>
                  <a:lnTo>
                    <a:pt x="2898" y="518"/>
                  </a:lnTo>
                  <a:lnTo>
                    <a:pt x="2898" y="520"/>
                  </a:lnTo>
                  <a:lnTo>
                    <a:pt x="2898" y="523"/>
                  </a:lnTo>
                  <a:lnTo>
                    <a:pt x="2898" y="524"/>
                  </a:lnTo>
                  <a:lnTo>
                    <a:pt x="2898" y="525"/>
                  </a:lnTo>
                  <a:lnTo>
                    <a:pt x="2898" y="528"/>
                  </a:lnTo>
                  <a:lnTo>
                    <a:pt x="2898" y="530"/>
                  </a:lnTo>
                  <a:lnTo>
                    <a:pt x="2898" y="531"/>
                  </a:lnTo>
                  <a:lnTo>
                    <a:pt x="2898" y="533"/>
                  </a:lnTo>
                  <a:lnTo>
                    <a:pt x="2898" y="535"/>
                  </a:lnTo>
                  <a:lnTo>
                    <a:pt x="2898" y="537"/>
                  </a:lnTo>
                  <a:lnTo>
                    <a:pt x="2898" y="539"/>
                  </a:lnTo>
                  <a:lnTo>
                    <a:pt x="2898" y="541"/>
                  </a:lnTo>
                  <a:lnTo>
                    <a:pt x="2898" y="542"/>
                  </a:lnTo>
                  <a:lnTo>
                    <a:pt x="2898" y="545"/>
                  </a:lnTo>
                  <a:lnTo>
                    <a:pt x="2898" y="547"/>
                  </a:lnTo>
                  <a:lnTo>
                    <a:pt x="2898" y="547"/>
                  </a:lnTo>
                  <a:lnTo>
                    <a:pt x="2898" y="551"/>
                  </a:lnTo>
                  <a:lnTo>
                    <a:pt x="2898" y="553"/>
                  </a:lnTo>
                  <a:lnTo>
                    <a:pt x="2898" y="553"/>
                  </a:lnTo>
                  <a:lnTo>
                    <a:pt x="2898" y="556"/>
                  </a:lnTo>
                  <a:lnTo>
                    <a:pt x="2898" y="558"/>
                  </a:lnTo>
                  <a:lnTo>
                    <a:pt x="2898" y="559"/>
                  </a:lnTo>
                  <a:lnTo>
                    <a:pt x="2898" y="561"/>
                  </a:lnTo>
                  <a:lnTo>
                    <a:pt x="2898" y="563"/>
                  </a:lnTo>
                  <a:lnTo>
                    <a:pt x="2898" y="565"/>
                  </a:lnTo>
                  <a:lnTo>
                    <a:pt x="2898" y="567"/>
                  </a:lnTo>
                  <a:lnTo>
                    <a:pt x="2898" y="569"/>
                  </a:lnTo>
                  <a:lnTo>
                    <a:pt x="2898" y="571"/>
                  </a:lnTo>
                  <a:lnTo>
                    <a:pt x="2898" y="573"/>
                  </a:lnTo>
                  <a:lnTo>
                    <a:pt x="2898" y="575"/>
                  </a:lnTo>
                  <a:lnTo>
                    <a:pt x="2898" y="575"/>
                  </a:lnTo>
                  <a:lnTo>
                    <a:pt x="2898" y="579"/>
                  </a:lnTo>
                  <a:lnTo>
                    <a:pt x="2898" y="581"/>
                  </a:lnTo>
                  <a:lnTo>
                    <a:pt x="2898" y="581"/>
                  </a:lnTo>
                  <a:lnTo>
                    <a:pt x="2898" y="585"/>
                  </a:lnTo>
                  <a:lnTo>
                    <a:pt x="2898" y="587"/>
                  </a:lnTo>
                  <a:lnTo>
                    <a:pt x="2898" y="587"/>
                  </a:lnTo>
                  <a:lnTo>
                    <a:pt x="2898" y="589"/>
                  </a:lnTo>
                  <a:lnTo>
                    <a:pt x="2898" y="593"/>
                  </a:lnTo>
                  <a:lnTo>
                    <a:pt x="2898" y="593"/>
                  </a:lnTo>
                  <a:lnTo>
                    <a:pt x="2898" y="595"/>
                  </a:lnTo>
                  <a:lnTo>
                    <a:pt x="2898" y="599"/>
                  </a:lnTo>
                  <a:lnTo>
                    <a:pt x="2898" y="599"/>
                  </a:lnTo>
                  <a:lnTo>
                    <a:pt x="2898" y="601"/>
                  </a:lnTo>
                  <a:lnTo>
                    <a:pt x="2898" y="603"/>
                  </a:lnTo>
                  <a:lnTo>
                    <a:pt x="2898" y="604"/>
                  </a:lnTo>
                  <a:lnTo>
                    <a:pt x="2898" y="607"/>
                  </a:lnTo>
                  <a:lnTo>
                    <a:pt x="2898" y="609"/>
                  </a:lnTo>
                  <a:lnTo>
                    <a:pt x="2898" y="610"/>
                  </a:lnTo>
                  <a:lnTo>
                    <a:pt x="2898" y="613"/>
                  </a:lnTo>
                  <a:lnTo>
                    <a:pt x="2898" y="615"/>
                  </a:lnTo>
                  <a:lnTo>
                    <a:pt x="2898" y="616"/>
                  </a:lnTo>
                  <a:lnTo>
                    <a:pt x="2898" y="665"/>
                  </a:lnTo>
                  <a:lnTo>
                    <a:pt x="2844" y="665"/>
                  </a:lnTo>
                  <a:lnTo>
                    <a:pt x="2790" y="665"/>
                  </a:lnTo>
                  <a:lnTo>
                    <a:pt x="2737" y="665"/>
                  </a:lnTo>
                  <a:lnTo>
                    <a:pt x="2683" y="665"/>
                  </a:lnTo>
                  <a:lnTo>
                    <a:pt x="2629" y="665"/>
                  </a:lnTo>
                  <a:lnTo>
                    <a:pt x="2575" y="665"/>
                  </a:lnTo>
                  <a:lnTo>
                    <a:pt x="2521" y="665"/>
                  </a:lnTo>
                  <a:lnTo>
                    <a:pt x="2467" y="665"/>
                  </a:lnTo>
                  <a:lnTo>
                    <a:pt x="2453" y="665"/>
                  </a:lnTo>
                  <a:lnTo>
                    <a:pt x="2441" y="667"/>
                  </a:lnTo>
                  <a:lnTo>
                    <a:pt x="2429" y="669"/>
                  </a:lnTo>
                  <a:lnTo>
                    <a:pt x="2416" y="671"/>
                  </a:lnTo>
                  <a:lnTo>
                    <a:pt x="2405" y="674"/>
                  </a:lnTo>
                  <a:lnTo>
                    <a:pt x="2394" y="677"/>
                  </a:lnTo>
                  <a:lnTo>
                    <a:pt x="2383" y="682"/>
                  </a:lnTo>
                  <a:lnTo>
                    <a:pt x="2374" y="686"/>
                  </a:lnTo>
                  <a:lnTo>
                    <a:pt x="2363" y="692"/>
                  </a:lnTo>
                  <a:lnTo>
                    <a:pt x="2354" y="698"/>
                  </a:lnTo>
                  <a:lnTo>
                    <a:pt x="2346" y="704"/>
                  </a:lnTo>
                  <a:lnTo>
                    <a:pt x="2336" y="711"/>
                  </a:lnTo>
                  <a:lnTo>
                    <a:pt x="2320" y="726"/>
                  </a:lnTo>
                  <a:lnTo>
                    <a:pt x="2306" y="744"/>
                  </a:lnTo>
                  <a:lnTo>
                    <a:pt x="2279" y="777"/>
                  </a:lnTo>
                  <a:lnTo>
                    <a:pt x="2253" y="811"/>
                  </a:lnTo>
                  <a:lnTo>
                    <a:pt x="2226" y="844"/>
                  </a:lnTo>
                  <a:lnTo>
                    <a:pt x="2201" y="878"/>
                  </a:lnTo>
                  <a:lnTo>
                    <a:pt x="2188" y="894"/>
                  </a:lnTo>
                  <a:lnTo>
                    <a:pt x="2173" y="908"/>
                  </a:lnTo>
                  <a:lnTo>
                    <a:pt x="2164" y="914"/>
                  </a:lnTo>
                  <a:lnTo>
                    <a:pt x="2156" y="919"/>
                  </a:lnTo>
                  <a:lnTo>
                    <a:pt x="2147" y="925"/>
                  </a:lnTo>
                  <a:lnTo>
                    <a:pt x="2138" y="930"/>
                  </a:lnTo>
                  <a:lnTo>
                    <a:pt x="2128" y="935"/>
                  </a:lnTo>
                  <a:lnTo>
                    <a:pt x="2118" y="938"/>
                  </a:lnTo>
                  <a:lnTo>
                    <a:pt x="2106" y="942"/>
                  </a:lnTo>
                  <a:lnTo>
                    <a:pt x="2094" y="945"/>
                  </a:lnTo>
                  <a:lnTo>
                    <a:pt x="2081" y="946"/>
                  </a:lnTo>
                  <a:lnTo>
                    <a:pt x="2068" y="949"/>
                  </a:lnTo>
                  <a:lnTo>
                    <a:pt x="2054" y="950"/>
                  </a:lnTo>
                  <a:lnTo>
                    <a:pt x="2039" y="950"/>
                  </a:lnTo>
                  <a:lnTo>
                    <a:pt x="2030" y="950"/>
                  </a:lnTo>
                  <a:lnTo>
                    <a:pt x="2019" y="950"/>
                  </a:lnTo>
                  <a:lnTo>
                    <a:pt x="2010" y="950"/>
                  </a:lnTo>
                  <a:lnTo>
                    <a:pt x="2001" y="950"/>
                  </a:lnTo>
                  <a:lnTo>
                    <a:pt x="1937" y="950"/>
                  </a:lnTo>
                  <a:lnTo>
                    <a:pt x="1919" y="965"/>
                  </a:lnTo>
                  <a:lnTo>
                    <a:pt x="1901" y="980"/>
                  </a:lnTo>
                  <a:lnTo>
                    <a:pt x="1882" y="993"/>
                  </a:lnTo>
                  <a:lnTo>
                    <a:pt x="1863" y="1006"/>
                  </a:lnTo>
                  <a:lnTo>
                    <a:pt x="1843" y="1019"/>
                  </a:lnTo>
                  <a:lnTo>
                    <a:pt x="1822" y="1029"/>
                  </a:lnTo>
                  <a:lnTo>
                    <a:pt x="1801" y="1040"/>
                  </a:lnTo>
                  <a:lnTo>
                    <a:pt x="1778" y="1049"/>
                  </a:lnTo>
                  <a:lnTo>
                    <a:pt x="1755" y="1058"/>
                  </a:lnTo>
                  <a:lnTo>
                    <a:pt x="1732" y="1065"/>
                  </a:lnTo>
                  <a:lnTo>
                    <a:pt x="1707" y="1070"/>
                  </a:lnTo>
                  <a:lnTo>
                    <a:pt x="1681" y="1075"/>
                  </a:lnTo>
                  <a:lnTo>
                    <a:pt x="1655" y="1079"/>
                  </a:lnTo>
                  <a:lnTo>
                    <a:pt x="1629" y="1081"/>
                  </a:lnTo>
                  <a:lnTo>
                    <a:pt x="1600" y="1082"/>
                  </a:lnTo>
                  <a:lnTo>
                    <a:pt x="1571" y="1081"/>
                  </a:lnTo>
                  <a:lnTo>
                    <a:pt x="1556" y="1081"/>
                  </a:lnTo>
                  <a:lnTo>
                    <a:pt x="1541" y="1081"/>
                  </a:lnTo>
                  <a:lnTo>
                    <a:pt x="1526" y="1081"/>
                  </a:lnTo>
                  <a:lnTo>
                    <a:pt x="1510" y="1081"/>
                  </a:lnTo>
                  <a:lnTo>
                    <a:pt x="1509" y="1081"/>
                  </a:lnTo>
                  <a:lnTo>
                    <a:pt x="1508" y="1081"/>
                  </a:lnTo>
                  <a:lnTo>
                    <a:pt x="1507" y="1081"/>
                  </a:lnTo>
                  <a:lnTo>
                    <a:pt x="1506" y="1081"/>
                  </a:lnTo>
                  <a:lnTo>
                    <a:pt x="1505" y="1081"/>
                  </a:lnTo>
                  <a:lnTo>
                    <a:pt x="1503" y="1081"/>
                  </a:lnTo>
                  <a:lnTo>
                    <a:pt x="1502" y="1081"/>
                  </a:lnTo>
                  <a:lnTo>
                    <a:pt x="1501" y="1081"/>
                  </a:lnTo>
                  <a:lnTo>
                    <a:pt x="1500" y="1081"/>
                  </a:lnTo>
                  <a:lnTo>
                    <a:pt x="1499" y="1081"/>
                  </a:lnTo>
                  <a:lnTo>
                    <a:pt x="1498" y="1081"/>
                  </a:lnTo>
                  <a:lnTo>
                    <a:pt x="1496" y="1081"/>
                  </a:lnTo>
                  <a:lnTo>
                    <a:pt x="1495" y="1081"/>
                  </a:lnTo>
                  <a:lnTo>
                    <a:pt x="1494" y="1081"/>
                  </a:lnTo>
                  <a:lnTo>
                    <a:pt x="1493" y="1081"/>
                  </a:lnTo>
                  <a:lnTo>
                    <a:pt x="1492" y="1081"/>
                  </a:lnTo>
                  <a:lnTo>
                    <a:pt x="1490" y="1081"/>
                  </a:lnTo>
                  <a:lnTo>
                    <a:pt x="1489" y="1081"/>
                  </a:lnTo>
                  <a:lnTo>
                    <a:pt x="1488" y="1081"/>
                  </a:lnTo>
                  <a:lnTo>
                    <a:pt x="1487" y="1081"/>
                  </a:lnTo>
                  <a:lnTo>
                    <a:pt x="1487" y="1081"/>
                  </a:lnTo>
                  <a:lnTo>
                    <a:pt x="1486" y="1081"/>
                  </a:lnTo>
                  <a:lnTo>
                    <a:pt x="1485" y="1081"/>
                  </a:lnTo>
                  <a:lnTo>
                    <a:pt x="1483" y="1081"/>
                  </a:lnTo>
                  <a:lnTo>
                    <a:pt x="1482" y="1081"/>
                  </a:lnTo>
                  <a:lnTo>
                    <a:pt x="1481" y="1081"/>
                  </a:lnTo>
                  <a:lnTo>
                    <a:pt x="1480" y="1081"/>
                  </a:lnTo>
                  <a:lnTo>
                    <a:pt x="1479" y="1081"/>
                  </a:lnTo>
                  <a:lnTo>
                    <a:pt x="1478" y="1081"/>
                  </a:lnTo>
                  <a:lnTo>
                    <a:pt x="1476" y="1081"/>
                  </a:lnTo>
                  <a:lnTo>
                    <a:pt x="1475" y="1081"/>
                  </a:lnTo>
                  <a:lnTo>
                    <a:pt x="1474" y="1081"/>
                  </a:lnTo>
                  <a:lnTo>
                    <a:pt x="1473" y="1081"/>
                  </a:lnTo>
                  <a:lnTo>
                    <a:pt x="1472" y="1081"/>
                  </a:lnTo>
                  <a:lnTo>
                    <a:pt x="1471" y="1081"/>
                  </a:lnTo>
                  <a:lnTo>
                    <a:pt x="1469" y="1081"/>
                  </a:lnTo>
                  <a:lnTo>
                    <a:pt x="1468" y="1081"/>
                  </a:lnTo>
                  <a:lnTo>
                    <a:pt x="1467" y="1081"/>
                  </a:lnTo>
                  <a:lnTo>
                    <a:pt x="1466" y="1081"/>
                  </a:lnTo>
                  <a:lnTo>
                    <a:pt x="1465" y="1081"/>
                  </a:lnTo>
                  <a:lnTo>
                    <a:pt x="1464" y="1081"/>
                  </a:lnTo>
                  <a:lnTo>
                    <a:pt x="1462" y="1081"/>
                  </a:lnTo>
                  <a:lnTo>
                    <a:pt x="1461" y="1081"/>
                  </a:lnTo>
                  <a:lnTo>
                    <a:pt x="1460" y="1081"/>
                  </a:lnTo>
                  <a:lnTo>
                    <a:pt x="1459" y="1081"/>
                  </a:lnTo>
                  <a:lnTo>
                    <a:pt x="1458" y="1081"/>
                  </a:lnTo>
                  <a:lnTo>
                    <a:pt x="1457" y="1081"/>
                  </a:lnTo>
                  <a:lnTo>
                    <a:pt x="1455" y="1081"/>
                  </a:lnTo>
                  <a:lnTo>
                    <a:pt x="1454" y="1081"/>
                  </a:lnTo>
                  <a:lnTo>
                    <a:pt x="1453" y="1081"/>
                  </a:lnTo>
                  <a:lnTo>
                    <a:pt x="1453" y="1081"/>
                  </a:lnTo>
                  <a:lnTo>
                    <a:pt x="1452" y="1081"/>
                  </a:lnTo>
                  <a:lnTo>
                    <a:pt x="1451" y="1081"/>
                  </a:lnTo>
                  <a:lnTo>
                    <a:pt x="1450" y="1081"/>
                  </a:lnTo>
                  <a:lnTo>
                    <a:pt x="1448" y="1081"/>
                  </a:lnTo>
                  <a:lnTo>
                    <a:pt x="1447" y="1081"/>
                  </a:lnTo>
                  <a:lnTo>
                    <a:pt x="1446" y="1081"/>
                  </a:lnTo>
                  <a:lnTo>
                    <a:pt x="1445" y="1081"/>
                  </a:lnTo>
                  <a:lnTo>
                    <a:pt x="1444" y="1081"/>
                  </a:lnTo>
                  <a:lnTo>
                    <a:pt x="1443" y="1081"/>
                  </a:lnTo>
                  <a:lnTo>
                    <a:pt x="1441" y="1081"/>
                  </a:lnTo>
                  <a:lnTo>
                    <a:pt x="1440" y="1081"/>
                  </a:lnTo>
                  <a:lnTo>
                    <a:pt x="1439" y="1081"/>
                  </a:lnTo>
                  <a:lnTo>
                    <a:pt x="1438" y="1081"/>
                  </a:lnTo>
                  <a:lnTo>
                    <a:pt x="0" y="1081"/>
                  </a:lnTo>
                  <a:lnTo>
                    <a:pt x="17" y="1061"/>
                  </a:lnTo>
                  <a:lnTo>
                    <a:pt x="1436" y="1061"/>
                  </a:lnTo>
                  <a:lnTo>
                    <a:pt x="1437" y="1061"/>
                  </a:lnTo>
                  <a:lnTo>
                    <a:pt x="1438" y="1061"/>
                  </a:lnTo>
                  <a:lnTo>
                    <a:pt x="1439" y="1061"/>
                  </a:lnTo>
                  <a:lnTo>
                    <a:pt x="1440" y="1061"/>
                  </a:lnTo>
                  <a:lnTo>
                    <a:pt x="1441" y="1061"/>
                  </a:lnTo>
                  <a:lnTo>
                    <a:pt x="1443" y="1061"/>
                  </a:lnTo>
                  <a:lnTo>
                    <a:pt x="1444" y="1061"/>
                  </a:lnTo>
                  <a:lnTo>
                    <a:pt x="1445" y="1061"/>
                  </a:lnTo>
                  <a:lnTo>
                    <a:pt x="1446" y="1061"/>
                  </a:lnTo>
                  <a:lnTo>
                    <a:pt x="1447" y="1061"/>
                  </a:lnTo>
                  <a:lnTo>
                    <a:pt x="1448" y="1061"/>
                  </a:lnTo>
                  <a:lnTo>
                    <a:pt x="1450" y="1061"/>
                  </a:lnTo>
                  <a:lnTo>
                    <a:pt x="1451" y="1061"/>
                  </a:lnTo>
                  <a:lnTo>
                    <a:pt x="1452" y="1061"/>
                  </a:lnTo>
                  <a:lnTo>
                    <a:pt x="1453" y="1061"/>
                  </a:lnTo>
                  <a:lnTo>
                    <a:pt x="1454" y="1061"/>
                  </a:lnTo>
                  <a:lnTo>
                    <a:pt x="1455" y="1061"/>
                  </a:lnTo>
                  <a:lnTo>
                    <a:pt x="1457" y="1061"/>
                  </a:lnTo>
                  <a:lnTo>
                    <a:pt x="1458" y="1061"/>
                  </a:lnTo>
                  <a:lnTo>
                    <a:pt x="1459" y="1061"/>
                  </a:lnTo>
                  <a:lnTo>
                    <a:pt x="1460" y="1061"/>
                  </a:lnTo>
                  <a:lnTo>
                    <a:pt x="1461" y="1061"/>
                  </a:lnTo>
                  <a:lnTo>
                    <a:pt x="1462" y="1061"/>
                  </a:lnTo>
                  <a:lnTo>
                    <a:pt x="1464" y="1061"/>
                  </a:lnTo>
                  <a:lnTo>
                    <a:pt x="1465" y="1061"/>
                  </a:lnTo>
                  <a:lnTo>
                    <a:pt x="1466" y="1061"/>
                  </a:lnTo>
                  <a:lnTo>
                    <a:pt x="1467" y="1061"/>
                  </a:lnTo>
                  <a:lnTo>
                    <a:pt x="1468" y="1061"/>
                  </a:lnTo>
                  <a:lnTo>
                    <a:pt x="1469" y="1061"/>
                  </a:lnTo>
                  <a:lnTo>
                    <a:pt x="1471" y="1061"/>
                  </a:lnTo>
                  <a:lnTo>
                    <a:pt x="1472" y="1061"/>
                  </a:lnTo>
                  <a:lnTo>
                    <a:pt x="1473" y="1061"/>
                  </a:lnTo>
                  <a:lnTo>
                    <a:pt x="1474" y="1061"/>
                  </a:lnTo>
                  <a:lnTo>
                    <a:pt x="1475" y="1061"/>
                  </a:lnTo>
                  <a:lnTo>
                    <a:pt x="1476" y="1061"/>
                  </a:lnTo>
                  <a:lnTo>
                    <a:pt x="1478" y="1061"/>
                  </a:lnTo>
                  <a:lnTo>
                    <a:pt x="1479" y="1061"/>
                  </a:lnTo>
                  <a:lnTo>
                    <a:pt x="1480" y="1061"/>
                  </a:lnTo>
                  <a:lnTo>
                    <a:pt x="1481" y="1061"/>
                  </a:lnTo>
                  <a:lnTo>
                    <a:pt x="1482" y="1061"/>
                  </a:lnTo>
                  <a:lnTo>
                    <a:pt x="1483" y="1061"/>
                  </a:lnTo>
                  <a:lnTo>
                    <a:pt x="1485" y="1061"/>
                  </a:lnTo>
                  <a:lnTo>
                    <a:pt x="1486" y="1061"/>
                  </a:lnTo>
                  <a:lnTo>
                    <a:pt x="1487" y="1061"/>
                  </a:lnTo>
                  <a:lnTo>
                    <a:pt x="1488" y="1061"/>
                  </a:lnTo>
                  <a:lnTo>
                    <a:pt x="1489" y="1061"/>
                  </a:lnTo>
                  <a:lnTo>
                    <a:pt x="1490" y="1061"/>
                  </a:lnTo>
                  <a:lnTo>
                    <a:pt x="1492" y="1061"/>
                  </a:lnTo>
                  <a:lnTo>
                    <a:pt x="1493" y="1061"/>
                  </a:lnTo>
                  <a:lnTo>
                    <a:pt x="1494" y="1061"/>
                  </a:lnTo>
                  <a:lnTo>
                    <a:pt x="1495" y="1061"/>
                  </a:lnTo>
                  <a:lnTo>
                    <a:pt x="1496" y="1061"/>
                  </a:lnTo>
                  <a:lnTo>
                    <a:pt x="1498" y="1061"/>
                  </a:lnTo>
                  <a:lnTo>
                    <a:pt x="1499" y="1061"/>
                  </a:lnTo>
                  <a:lnTo>
                    <a:pt x="1500" y="1061"/>
                  </a:lnTo>
                  <a:lnTo>
                    <a:pt x="1501" y="1061"/>
                  </a:lnTo>
                  <a:lnTo>
                    <a:pt x="1502" y="1061"/>
                  </a:lnTo>
                  <a:lnTo>
                    <a:pt x="1503" y="1061"/>
                  </a:lnTo>
                  <a:lnTo>
                    <a:pt x="1505" y="1061"/>
                  </a:lnTo>
                  <a:lnTo>
                    <a:pt x="1506" y="1061"/>
                  </a:lnTo>
                  <a:lnTo>
                    <a:pt x="1507" y="1061"/>
                  </a:lnTo>
                  <a:lnTo>
                    <a:pt x="1508" y="1061"/>
                  </a:lnTo>
                  <a:lnTo>
                    <a:pt x="1509" y="1061"/>
                  </a:lnTo>
                  <a:lnTo>
                    <a:pt x="1510" y="1061"/>
                  </a:lnTo>
                  <a:lnTo>
                    <a:pt x="1533" y="1059"/>
                  </a:lnTo>
                  <a:lnTo>
                    <a:pt x="1554" y="1056"/>
                  </a:lnTo>
                  <a:lnTo>
                    <a:pt x="1575" y="1053"/>
                  </a:lnTo>
                  <a:lnTo>
                    <a:pt x="1595" y="1048"/>
                  </a:lnTo>
                  <a:lnTo>
                    <a:pt x="1615" y="1044"/>
                  </a:lnTo>
                  <a:lnTo>
                    <a:pt x="1633" y="1038"/>
                  </a:lnTo>
                  <a:lnTo>
                    <a:pt x="1652" y="1032"/>
                  </a:lnTo>
                  <a:lnTo>
                    <a:pt x="1670" y="1025"/>
                  </a:lnTo>
                  <a:lnTo>
                    <a:pt x="1686" y="1018"/>
                  </a:lnTo>
                  <a:lnTo>
                    <a:pt x="1702" y="1010"/>
                  </a:lnTo>
                  <a:lnTo>
                    <a:pt x="1719" y="1001"/>
                  </a:lnTo>
                  <a:lnTo>
                    <a:pt x="1733" y="992"/>
                  </a:lnTo>
                  <a:lnTo>
                    <a:pt x="1748" y="983"/>
                  </a:lnTo>
                  <a:lnTo>
                    <a:pt x="1762" y="972"/>
                  </a:lnTo>
                  <a:lnTo>
                    <a:pt x="1775" y="960"/>
                  </a:lnTo>
                  <a:lnTo>
                    <a:pt x="1788" y="950"/>
                  </a:lnTo>
                  <a:lnTo>
                    <a:pt x="1030" y="950"/>
                  </a:lnTo>
                  <a:lnTo>
                    <a:pt x="1008" y="967"/>
                  </a:lnTo>
                  <a:lnTo>
                    <a:pt x="989" y="984"/>
                  </a:lnTo>
                  <a:lnTo>
                    <a:pt x="978" y="992"/>
                  </a:lnTo>
                  <a:lnTo>
                    <a:pt x="966" y="999"/>
                  </a:lnTo>
                  <a:lnTo>
                    <a:pt x="956" y="1005"/>
                  </a:lnTo>
                  <a:lnTo>
                    <a:pt x="943" y="1011"/>
                  </a:lnTo>
                  <a:lnTo>
                    <a:pt x="931" y="1015"/>
                  </a:lnTo>
                  <a:lnTo>
                    <a:pt x="917" y="1020"/>
                  </a:lnTo>
                  <a:lnTo>
                    <a:pt x="903" y="1025"/>
                  </a:lnTo>
                  <a:lnTo>
                    <a:pt x="889" y="1028"/>
                  </a:lnTo>
                  <a:lnTo>
                    <a:pt x="873" y="1032"/>
                  </a:lnTo>
                  <a:lnTo>
                    <a:pt x="855" y="1034"/>
                  </a:lnTo>
                  <a:lnTo>
                    <a:pt x="836" y="1035"/>
                  </a:lnTo>
                  <a:lnTo>
                    <a:pt x="817" y="1037"/>
                  </a:lnTo>
                  <a:lnTo>
                    <a:pt x="817" y="1037"/>
                  </a:lnTo>
                  <a:lnTo>
                    <a:pt x="817" y="1037"/>
                  </a:lnTo>
                  <a:lnTo>
                    <a:pt x="817" y="1037"/>
                  </a:lnTo>
                  <a:lnTo>
                    <a:pt x="815" y="1037"/>
                  </a:lnTo>
                  <a:lnTo>
                    <a:pt x="815" y="1037"/>
                  </a:lnTo>
                  <a:lnTo>
                    <a:pt x="815" y="1037"/>
                  </a:lnTo>
                  <a:lnTo>
                    <a:pt x="814" y="1037"/>
                  </a:lnTo>
                  <a:lnTo>
                    <a:pt x="814" y="1037"/>
                  </a:lnTo>
                  <a:lnTo>
                    <a:pt x="814" y="1037"/>
                  </a:lnTo>
                  <a:lnTo>
                    <a:pt x="814" y="1037"/>
                  </a:lnTo>
                  <a:lnTo>
                    <a:pt x="813" y="1037"/>
                  </a:lnTo>
                  <a:lnTo>
                    <a:pt x="813" y="1037"/>
                  </a:lnTo>
                  <a:lnTo>
                    <a:pt x="813" y="1037"/>
                  </a:lnTo>
                  <a:lnTo>
                    <a:pt x="812" y="1037"/>
                  </a:lnTo>
                  <a:lnTo>
                    <a:pt x="812" y="1037"/>
                  </a:lnTo>
                  <a:lnTo>
                    <a:pt x="812" y="1037"/>
                  </a:lnTo>
                  <a:lnTo>
                    <a:pt x="812" y="1037"/>
                  </a:lnTo>
                  <a:lnTo>
                    <a:pt x="811" y="1037"/>
                  </a:lnTo>
                  <a:lnTo>
                    <a:pt x="811" y="1037"/>
                  </a:lnTo>
                  <a:lnTo>
                    <a:pt x="811" y="1037"/>
                  </a:lnTo>
                  <a:lnTo>
                    <a:pt x="810" y="1037"/>
                  </a:lnTo>
                  <a:lnTo>
                    <a:pt x="810" y="1037"/>
                  </a:lnTo>
                  <a:lnTo>
                    <a:pt x="810" y="1037"/>
                  </a:lnTo>
                  <a:lnTo>
                    <a:pt x="810" y="1037"/>
                  </a:lnTo>
                  <a:lnTo>
                    <a:pt x="808" y="1037"/>
                  </a:lnTo>
                  <a:lnTo>
                    <a:pt x="808" y="1037"/>
                  </a:lnTo>
                  <a:lnTo>
                    <a:pt x="808" y="1037"/>
                  </a:lnTo>
                  <a:lnTo>
                    <a:pt x="807" y="1037"/>
                  </a:lnTo>
                  <a:lnTo>
                    <a:pt x="807" y="1037"/>
                  </a:lnTo>
                  <a:lnTo>
                    <a:pt x="807" y="1037"/>
                  </a:lnTo>
                  <a:lnTo>
                    <a:pt x="806" y="1037"/>
                  </a:lnTo>
                  <a:lnTo>
                    <a:pt x="806" y="1037"/>
                  </a:lnTo>
                  <a:lnTo>
                    <a:pt x="806" y="1037"/>
                  </a:lnTo>
                  <a:lnTo>
                    <a:pt x="806" y="1037"/>
                  </a:lnTo>
                  <a:lnTo>
                    <a:pt x="805" y="1037"/>
                  </a:lnTo>
                  <a:lnTo>
                    <a:pt x="805" y="1037"/>
                  </a:lnTo>
                  <a:lnTo>
                    <a:pt x="805" y="1037"/>
                  </a:lnTo>
                  <a:lnTo>
                    <a:pt x="804" y="1037"/>
                  </a:lnTo>
                  <a:lnTo>
                    <a:pt x="804" y="1037"/>
                  </a:lnTo>
                  <a:lnTo>
                    <a:pt x="804" y="1037"/>
                  </a:lnTo>
                  <a:lnTo>
                    <a:pt x="804" y="1037"/>
                  </a:lnTo>
                  <a:lnTo>
                    <a:pt x="803" y="1037"/>
                  </a:lnTo>
                  <a:lnTo>
                    <a:pt x="803" y="1037"/>
                  </a:lnTo>
                  <a:lnTo>
                    <a:pt x="803" y="1037"/>
                  </a:lnTo>
                  <a:lnTo>
                    <a:pt x="801" y="1037"/>
                  </a:lnTo>
                  <a:lnTo>
                    <a:pt x="801" y="1037"/>
                  </a:lnTo>
                  <a:lnTo>
                    <a:pt x="801" y="1037"/>
                  </a:lnTo>
                  <a:lnTo>
                    <a:pt x="801" y="1037"/>
                  </a:lnTo>
                  <a:lnTo>
                    <a:pt x="800" y="1037"/>
                  </a:lnTo>
                  <a:lnTo>
                    <a:pt x="800" y="1037"/>
                  </a:lnTo>
                  <a:lnTo>
                    <a:pt x="800" y="1037"/>
                  </a:lnTo>
                  <a:lnTo>
                    <a:pt x="799" y="1037"/>
                  </a:lnTo>
                  <a:lnTo>
                    <a:pt x="799" y="1037"/>
                  </a:lnTo>
                  <a:lnTo>
                    <a:pt x="799" y="1037"/>
                  </a:lnTo>
                  <a:lnTo>
                    <a:pt x="799" y="1037"/>
                  </a:lnTo>
                  <a:lnTo>
                    <a:pt x="798" y="1037"/>
                  </a:lnTo>
                  <a:lnTo>
                    <a:pt x="798" y="1037"/>
                  </a:lnTo>
                  <a:lnTo>
                    <a:pt x="798" y="1037"/>
                  </a:lnTo>
                  <a:lnTo>
                    <a:pt x="797" y="1037"/>
                  </a:lnTo>
                  <a:lnTo>
                    <a:pt x="797" y="1037"/>
                  </a:lnTo>
                  <a:lnTo>
                    <a:pt x="797" y="1037"/>
                  </a:lnTo>
                  <a:lnTo>
                    <a:pt x="797" y="1037"/>
                  </a:lnTo>
                  <a:lnTo>
                    <a:pt x="796" y="1037"/>
                  </a:lnTo>
                  <a:lnTo>
                    <a:pt x="796" y="1037"/>
                  </a:lnTo>
                  <a:lnTo>
                    <a:pt x="37" y="1037"/>
                  </a:lnTo>
                  <a:lnTo>
                    <a:pt x="55" y="1017"/>
                  </a:lnTo>
                  <a:close/>
                  <a:moveTo>
                    <a:pt x="2370" y="616"/>
                  </a:moveTo>
                  <a:lnTo>
                    <a:pt x="2214" y="616"/>
                  </a:lnTo>
                  <a:lnTo>
                    <a:pt x="2029" y="850"/>
                  </a:lnTo>
                  <a:lnTo>
                    <a:pt x="2012" y="870"/>
                  </a:lnTo>
                  <a:lnTo>
                    <a:pt x="1995" y="891"/>
                  </a:lnTo>
                  <a:lnTo>
                    <a:pt x="1977" y="910"/>
                  </a:lnTo>
                  <a:lnTo>
                    <a:pt x="1958" y="929"/>
                  </a:lnTo>
                  <a:lnTo>
                    <a:pt x="2001" y="929"/>
                  </a:lnTo>
                  <a:lnTo>
                    <a:pt x="2010" y="929"/>
                  </a:lnTo>
                  <a:lnTo>
                    <a:pt x="2019" y="929"/>
                  </a:lnTo>
                  <a:lnTo>
                    <a:pt x="2030" y="929"/>
                  </a:lnTo>
                  <a:lnTo>
                    <a:pt x="2039" y="929"/>
                  </a:lnTo>
                  <a:lnTo>
                    <a:pt x="2054" y="929"/>
                  </a:lnTo>
                  <a:lnTo>
                    <a:pt x="2067" y="926"/>
                  </a:lnTo>
                  <a:lnTo>
                    <a:pt x="2080" y="925"/>
                  </a:lnTo>
                  <a:lnTo>
                    <a:pt x="2093" y="922"/>
                  </a:lnTo>
                  <a:lnTo>
                    <a:pt x="2104" y="919"/>
                  </a:lnTo>
                  <a:lnTo>
                    <a:pt x="2114" y="915"/>
                  </a:lnTo>
                  <a:lnTo>
                    <a:pt x="2123" y="911"/>
                  </a:lnTo>
                  <a:lnTo>
                    <a:pt x="2133" y="907"/>
                  </a:lnTo>
                  <a:lnTo>
                    <a:pt x="2141" y="901"/>
                  </a:lnTo>
                  <a:lnTo>
                    <a:pt x="2149" y="896"/>
                  </a:lnTo>
                  <a:lnTo>
                    <a:pt x="2157" y="889"/>
                  </a:lnTo>
                  <a:lnTo>
                    <a:pt x="2164" y="883"/>
                  </a:lnTo>
                  <a:lnTo>
                    <a:pt x="2177" y="870"/>
                  </a:lnTo>
                  <a:lnTo>
                    <a:pt x="2188" y="855"/>
                  </a:lnTo>
                  <a:lnTo>
                    <a:pt x="2209" y="828"/>
                  </a:lnTo>
                  <a:lnTo>
                    <a:pt x="2230" y="801"/>
                  </a:lnTo>
                  <a:lnTo>
                    <a:pt x="2251" y="774"/>
                  </a:lnTo>
                  <a:lnTo>
                    <a:pt x="2272" y="747"/>
                  </a:lnTo>
                  <a:lnTo>
                    <a:pt x="2292" y="720"/>
                  </a:lnTo>
                  <a:lnTo>
                    <a:pt x="2313" y="693"/>
                  </a:lnTo>
                  <a:lnTo>
                    <a:pt x="2333" y="667"/>
                  </a:lnTo>
                  <a:lnTo>
                    <a:pt x="2353" y="638"/>
                  </a:lnTo>
                  <a:lnTo>
                    <a:pt x="2362" y="627"/>
                  </a:lnTo>
                  <a:lnTo>
                    <a:pt x="2370" y="616"/>
                  </a:lnTo>
                  <a:close/>
                  <a:moveTo>
                    <a:pt x="1808" y="929"/>
                  </a:moveTo>
                  <a:lnTo>
                    <a:pt x="1816" y="919"/>
                  </a:lnTo>
                  <a:lnTo>
                    <a:pt x="1825" y="909"/>
                  </a:lnTo>
                  <a:lnTo>
                    <a:pt x="1853" y="873"/>
                  </a:lnTo>
                  <a:lnTo>
                    <a:pt x="1882" y="835"/>
                  </a:lnTo>
                  <a:lnTo>
                    <a:pt x="1911" y="799"/>
                  </a:lnTo>
                  <a:lnTo>
                    <a:pt x="1940" y="763"/>
                  </a:lnTo>
                  <a:lnTo>
                    <a:pt x="1968" y="726"/>
                  </a:lnTo>
                  <a:lnTo>
                    <a:pt x="1997" y="689"/>
                  </a:lnTo>
                  <a:lnTo>
                    <a:pt x="2025" y="652"/>
                  </a:lnTo>
                  <a:lnTo>
                    <a:pt x="2053" y="616"/>
                  </a:lnTo>
                  <a:lnTo>
                    <a:pt x="1459" y="616"/>
                  </a:lnTo>
                  <a:lnTo>
                    <a:pt x="1440" y="616"/>
                  </a:lnTo>
                  <a:lnTo>
                    <a:pt x="1421" y="617"/>
                  </a:lnTo>
                  <a:lnTo>
                    <a:pt x="1404" y="620"/>
                  </a:lnTo>
                  <a:lnTo>
                    <a:pt x="1386" y="622"/>
                  </a:lnTo>
                  <a:lnTo>
                    <a:pt x="1369" y="626"/>
                  </a:lnTo>
                  <a:lnTo>
                    <a:pt x="1354" y="630"/>
                  </a:lnTo>
                  <a:lnTo>
                    <a:pt x="1337" y="636"/>
                  </a:lnTo>
                  <a:lnTo>
                    <a:pt x="1322" y="642"/>
                  </a:lnTo>
                  <a:lnTo>
                    <a:pt x="1308" y="648"/>
                  </a:lnTo>
                  <a:lnTo>
                    <a:pt x="1294" y="655"/>
                  </a:lnTo>
                  <a:lnTo>
                    <a:pt x="1281" y="663"/>
                  </a:lnTo>
                  <a:lnTo>
                    <a:pt x="1268" y="672"/>
                  </a:lnTo>
                  <a:lnTo>
                    <a:pt x="1255" y="682"/>
                  </a:lnTo>
                  <a:lnTo>
                    <a:pt x="1244" y="691"/>
                  </a:lnTo>
                  <a:lnTo>
                    <a:pt x="1232" y="702"/>
                  </a:lnTo>
                  <a:lnTo>
                    <a:pt x="1221" y="713"/>
                  </a:lnTo>
                  <a:lnTo>
                    <a:pt x="1046" y="929"/>
                  </a:lnTo>
                  <a:lnTo>
                    <a:pt x="1808" y="929"/>
                  </a:lnTo>
                  <a:close/>
                </a:path>
              </a:pathLst>
            </a:cu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5" name="Freeform 95"/>
            <p:cNvSpPr>
              <a:spLocks/>
            </p:cNvSpPr>
            <p:nvPr userDrawn="1"/>
          </p:nvSpPr>
          <p:spPr bwMode="auto">
            <a:xfrm>
              <a:off x="11177720" y="4681538"/>
              <a:ext cx="295032" cy="193675"/>
            </a:xfrm>
            <a:custGeom>
              <a:avLst/>
              <a:gdLst>
                <a:gd name="T0" fmla="*/ 275 w 451"/>
                <a:gd name="T1" fmla="*/ 0 h 367"/>
                <a:gd name="T2" fmla="*/ 451 w 451"/>
                <a:gd name="T3" fmla="*/ 0 h 367"/>
                <a:gd name="T4" fmla="*/ 161 w 451"/>
                <a:gd name="T5" fmla="*/ 367 h 367"/>
                <a:gd name="T6" fmla="*/ 0 w 451"/>
                <a:gd name="T7" fmla="*/ 367 h 367"/>
                <a:gd name="T8" fmla="*/ 35 w 451"/>
                <a:gd name="T9" fmla="*/ 322 h 367"/>
                <a:gd name="T10" fmla="*/ 70 w 451"/>
                <a:gd name="T11" fmla="*/ 276 h 367"/>
                <a:gd name="T12" fmla="*/ 106 w 451"/>
                <a:gd name="T13" fmla="*/ 230 h 367"/>
                <a:gd name="T14" fmla="*/ 139 w 451"/>
                <a:gd name="T15" fmla="*/ 185 h 367"/>
                <a:gd name="T16" fmla="*/ 175 w 451"/>
                <a:gd name="T17" fmla="*/ 138 h 367"/>
                <a:gd name="T18" fmla="*/ 209 w 451"/>
                <a:gd name="T19" fmla="*/ 92 h 367"/>
                <a:gd name="T20" fmla="*/ 242 w 451"/>
                <a:gd name="T21" fmla="*/ 45 h 367"/>
                <a:gd name="T22" fmla="*/ 275 w 451"/>
                <a:gd name="T23" fmla="*/ 0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51" h="367">
                  <a:moveTo>
                    <a:pt x="275" y="0"/>
                  </a:moveTo>
                  <a:lnTo>
                    <a:pt x="451" y="0"/>
                  </a:lnTo>
                  <a:lnTo>
                    <a:pt x="161" y="367"/>
                  </a:lnTo>
                  <a:lnTo>
                    <a:pt x="0" y="367"/>
                  </a:lnTo>
                  <a:lnTo>
                    <a:pt x="35" y="322"/>
                  </a:lnTo>
                  <a:lnTo>
                    <a:pt x="70" y="276"/>
                  </a:lnTo>
                  <a:lnTo>
                    <a:pt x="106" y="230"/>
                  </a:lnTo>
                  <a:lnTo>
                    <a:pt x="139" y="185"/>
                  </a:lnTo>
                  <a:lnTo>
                    <a:pt x="175" y="138"/>
                  </a:lnTo>
                  <a:lnTo>
                    <a:pt x="209" y="92"/>
                  </a:lnTo>
                  <a:lnTo>
                    <a:pt x="242" y="45"/>
                  </a:lnTo>
                  <a:lnTo>
                    <a:pt x="275" y="0"/>
                  </a:ln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6" name="Freeform 96"/>
            <p:cNvSpPr>
              <a:spLocks noEditPoints="1"/>
            </p:cNvSpPr>
            <p:nvPr userDrawn="1"/>
          </p:nvSpPr>
          <p:spPr bwMode="auto">
            <a:xfrm>
              <a:off x="10472386" y="4806954"/>
              <a:ext cx="1256324" cy="246063"/>
            </a:xfrm>
            <a:custGeom>
              <a:avLst/>
              <a:gdLst>
                <a:gd name="T0" fmla="*/ 1414 w 1930"/>
                <a:gd name="T1" fmla="*/ 115 h 464"/>
                <a:gd name="T2" fmla="*/ 1437 w 1930"/>
                <a:gd name="T3" fmla="*/ 88 h 464"/>
                <a:gd name="T4" fmla="*/ 1461 w 1930"/>
                <a:gd name="T5" fmla="*/ 66 h 464"/>
                <a:gd name="T6" fmla="*/ 1485 w 1930"/>
                <a:gd name="T7" fmla="*/ 46 h 464"/>
                <a:gd name="T8" fmla="*/ 1510 w 1930"/>
                <a:gd name="T9" fmla="*/ 29 h 464"/>
                <a:gd name="T10" fmla="*/ 1535 w 1930"/>
                <a:gd name="T11" fmla="*/ 17 h 464"/>
                <a:gd name="T12" fmla="*/ 1560 w 1930"/>
                <a:gd name="T13" fmla="*/ 7 h 464"/>
                <a:gd name="T14" fmla="*/ 1587 w 1930"/>
                <a:gd name="T15" fmla="*/ 1 h 464"/>
                <a:gd name="T16" fmla="*/ 1641 w 1930"/>
                <a:gd name="T17" fmla="*/ 0 h 464"/>
                <a:gd name="T18" fmla="*/ 1724 w 1930"/>
                <a:gd name="T19" fmla="*/ 0 h 464"/>
                <a:gd name="T20" fmla="*/ 1806 w 1930"/>
                <a:gd name="T21" fmla="*/ 0 h 464"/>
                <a:gd name="T22" fmla="*/ 1889 w 1930"/>
                <a:gd name="T23" fmla="*/ 0 h 464"/>
                <a:gd name="T24" fmla="*/ 1930 w 1930"/>
                <a:gd name="T25" fmla="*/ 3 h 464"/>
                <a:gd name="T26" fmla="*/ 1930 w 1930"/>
                <a:gd name="T27" fmla="*/ 6 h 464"/>
                <a:gd name="T28" fmla="*/ 1930 w 1930"/>
                <a:gd name="T29" fmla="*/ 10 h 464"/>
                <a:gd name="T30" fmla="*/ 1930 w 1930"/>
                <a:gd name="T31" fmla="*/ 14 h 464"/>
                <a:gd name="T32" fmla="*/ 1930 w 1930"/>
                <a:gd name="T33" fmla="*/ 17 h 464"/>
                <a:gd name="T34" fmla="*/ 1930 w 1930"/>
                <a:gd name="T35" fmla="*/ 20 h 464"/>
                <a:gd name="T36" fmla="*/ 1930 w 1930"/>
                <a:gd name="T37" fmla="*/ 25 h 464"/>
                <a:gd name="T38" fmla="*/ 1930 w 1930"/>
                <a:gd name="T39" fmla="*/ 28 h 464"/>
                <a:gd name="T40" fmla="*/ 1930 w 1930"/>
                <a:gd name="T41" fmla="*/ 32 h 464"/>
                <a:gd name="T42" fmla="*/ 1930 w 1930"/>
                <a:gd name="T43" fmla="*/ 37 h 464"/>
                <a:gd name="T44" fmla="*/ 1930 w 1930"/>
                <a:gd name="T45" fmla="*/ 39 h 464"/>
                <a:gd name="T46" fmla="*/ 1930 w 1930"/>
                <a:gd name="T47" fmla="*/ 44 h 464"/>
                <a:gd name="T48" fmla="*/ 1930 w 1930"/>
                <a:gd name="T49" fmla="*/ 47 h 464"/>
                <a:gd name="T50" fmla="*/ 1930 w 1930"/>
                <a:gd name="T51" fmla="*/ 51 h 464"/>
                <a:gd name="T52" fmla="*/ 1930 w 1930"/>
                <a:gd name="T53" fmla="*/ 55 h 464"/>
                <a:gd name="T54" fmla="*/ 1930 w 1930"/>
                <a:gd name="T55" fmla="*/ 59 h 464"/>
                <a:gd name="T56" fmla="*/ 1930 w 1930"/>
                <a:gd name="T57" fmla="*/ 61 h 464"/>
                <a:gd name="T58" fmla="*/ 1930 w 1930"/>
                <a:gd name="T59" fmla="*/ 67 h 464"/>
                <a:gd name="T60" fmla="*/ 1930 w 1930"/>
                <a:gd name="T61" fmla="*/ 70 h 464"/>
                <a:gd name="T62" fmla="*/ 1930 w 1930"/>
                <a:gd name="T63" fmla="*/ 73 h 464"/>
                <a:gd name="T64" fmla="*/ 1930 w 1930"/>
                <a:gd name="T65" fmla="*/ 77 h 464"/>
                <a:gd name="T66" fmla="*/ 1930 w 1930"/>
                <a:gd name="T67" fmla="*/ 81 h 464"/>
                <a:gd name="T68" fmla="*/ 1930 w 1930"/>
                <a:gd name="T69" fmla="*/ 85 h 464"/>
                <a:gd name="T70" fmla="*/ 1930 w 1930"/>
                <a:gd name="T71" fmla="*/ 89 h 464"/>
                <a:gd name="T72" fmla="*/ 1930 w 1930"/>
                <a:gd name="T73" fmla="*/ 93 h 464"/>
                <a:gd name="T74" fmla="*/ 1930 w 1930"/>
                <a:gd name="T75" fmla="*/ 95 h 464"/>
                <a:gd name="T76" fmla="*/ 1930 w 1930"/>
                <a:gd name="T77" fmla="*/ 101 h 464"/>
                <a:gd name="T78" fmla="*/ 1930 w 1930"/>
                <a:gd name="T79" fmla="*/ 103 h 464"/>
                <a:gd name="T80" fmla="*/ 1930 w 1930"/>
                <a:gd name="T81" fmla="*/ 107 h 464"/>
                <a:gd name="T82" fmla="*/ 1930 w 1930"/>
                <a:gd name="T83" fmla="*/ 113 h 464"/>
                <a:gd name="T84" fmla="*/ 1930 w 1930"/>
                <a:gd name="T85" fmla="*/ 115 h 464"/>
                <a:gd name="T86" fmla="*/ 1930 w 1930"/>
                <a:gd name="T87" fmla="*/ 118 h 464"/>
                <a:gd name="T88" fmla="*/ 1930 w 1930"/>
                <a:gd name="T89" fmla="*/ 123 h 464"/>
                <a:gd name="T90" fmla="*/ 1930 w 1930"/>
                <a:gd name="T91" fmla="*/ 127 h 464"/>
                <a:gd name="T92" fmla="*/ 1930 w 1930"/>
                <a:gd name="T93" fmla="*/ 130 h 464"/>
                <a:gd name="T94" fmla="*/ 62 w 1930"/>
                <a:gd name="T95" fmla="*/ 464 h 464"/>
                <a:gd name="T96" fmla="*/ 10 w 1930"/>
                <a:gd name="T97" fmla="*/ 453 h 464"/>
                <a:gd name="T98" fmla="*/ 78 w 1930"/>
                <a:gd name="T99" fmla="*/ 443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930" h="464">
                  <a:moveTo>
                    <a:pt x="1402" y="130"/>
                  </a:moveTo>
                  <a:lnTo>
                    <a:pt x="1414" y="115"/>
                  </a:lnTo>
                  <a:lnTo>
                    <a:pt x="1426" y="101"/>
                  </a:lnTo>
                  <a:lnTo>
                    <a:pt x="1437" y="88"/>
                  </a:lnTo>
                  <a:lnTo>
                    <a:pt x="1449" y="76"/>
                  </a:lnTo>
                  <a:lnTo>
                    <a:pt x="1461" y="66"/>
                  </a:lnTo>
                  <a:lnTo>
                    <a:pt x="1473" y="55"/>
                  </a:lnTo>
                  <a:lnTo>
                    <a:pt x="1485" y="46"/>
                  </a:lnTo>
                  <a:lnTo>
                    <a:pt x="1497" y="38"/>
                  </a:lnTo>
                  <a:lnTo>
                    <a:pt x="1510" y="29"/>
                  </a:lnTo>
                  <a:lnTo>
                    <a:pt x="1522" y="22"/>
                  </a:lnTo>
                  <a:lnTo>
                    <a:pt x="1535" y="17"/>
                  </a:lnTo>
                  <a:lnTo>
                    <a:pt x="1547" y="12"/>
                  </a:lnTo>
                  <a:lnTo>
                    <a:pt x="1560" y="7"/>
                  </a:lnTo>
                  <a:lnTo>
                    <a:pt x="1573" y="4"/>
                  </a:lnTo>
                  <a:lnTo>
                    <a:pt x="1587" y="1"/>
                  </a:lnTo>
                  <a:lnTo>
                    <a:pt x="1600" y="0"/>
                  </a:lnTo>
                  <a:lnTo>
                    <a:pt x="1641" y="0"/>
                  </a:lnTo>
                  <a:lnTo>
                    <a:pt x="1682" y="0"/>
                  </a:lnTo>
                  <a:lnTo>
                    <a:pt x="1724" y="0"/>
                  </a:lnTo>
                  <a:lnTo>
                    <a:pt x="1765" y="0"/>
                  </a:lnTo>
                  <a:lnTo>
                    <a:pt x="1806" y="0"/>
                  </a:lnTo>
                  <a:lnTo>
                    <a:pt x="1847" y="0"/>
                  </a:lnTo>
                  <a:lnTo>
                    <a:pt x="1889" y="0"/>
                  </a:lnTo>
                  <a:lnTo>
                    <a:pt x="1930" y="0"/>
                  </a:lnTo>
                  <a:lnTo>
                    <a:pt x="1930" y="3"/>
                  </a:lnTo>
                  <a:lnTo>
                    <a:pt x="1930" y="4"/>
                  </a:lnTo>
                  <a:lnTo>
                    <a:pt x="1930" y="6"/>
                  </a:lnTo>
                  <a:lnTo>
                    <a:pt x="1930" y="8"/>
                  </a:lnTo>
                  <a:lnTo>
                    <a:pt x="1930" y="10"/>
                  </a:lnTo>
                  <a:lnTo>
                    <a:pt x="1930" y="11"/>
                  </a:lnTo>
                  <a:lnTo>
                    <a:pt x="1930" y="14"/>
                  </a:lnTo>
                  <a:lnTo>
                    <a:pt x="1930" y="14"/>
                  </a:lnTo>
                  <a:lnTo>
                    <a:pt x="1930" y="17"/>
                  </a:lnTo>
                  <a:lnTo>
                    <a:pt x="1930" y="20"/>
                  </a:lnTo>
                  <a:lnTo>
                    <a:pt x="1930" y="20"/>
                  </a:lnTo>
                  <a:lnTo>
                    <a:pt x="1930" y="22"/>
                  </a:lnTo>
                  <a:lnTo>
                    <a:pt x="1930" y="25"/>
                  </a:lnTo>
                  <a:lnTo>
                    <a:pt x="1930" y="26"/>
                  </a:lnTo>
                  <a:lnTo>
                    <a:pt x="1930" y="28"/>
                  </a:lnTo>
                  <a:lnTo>
                    <a:pt x="1930" y="31"/>
                  </a:lnTo>
                  <a:lnTo>
                    <a:pt x="1930" y="32"/>
                  </a:lnTo>
                  <a:lnTo>
                    <a:pt x="1930" y="34"/>
                  </a:lnTo>
                  <a:lnTo>
                    <a:pt x="1930" y="37"/>
                  </a:lnTo>
                  <a:lnTo>
                    <a:pt x="1930" y="38"/>
                  </a:lnTo>
                  <a:lnTo>
                    <a:pt x="1930" y="39"/>
                  </a:lnTo>
                  <a:lnTo>
                    <a:pt x="1930" y="42"/>
                  </a:lnTo>
                  <a:lnTo>
                    <a:pt x="1930" y="44"/>
                  </a:lnTo>
                  <a:lnTo>
                    <a:pt x="1930" y="45"/>
                  </a:lnTo>
                  <a:lnTo>
                    <a:pt x="1930" y="47"/>
                  </a:lnTo>
                  <a:lnTo>
                    <a:pt x="1930" y="49"/>
                  </a:lnTo>
                  <a:lnTo>
                    <a:pt x="1930" y="51"/>
                  </a:lnTo>
                  <a:lnTo>
                    <a:pt x="1930" y="53"/>
                  </a:lnTo>
                  <a:lnTo>
                    <a:pt x="1930" y="55"/>
                  </a:lnTo>
                  <a:lnTo>
                    <a:pt x="1930" y="56"/>
                  </a:lnTo>
                  <a:lnTo>
                    <a:pt x="1930" y="59"/>
                  </a:lnTo>
                  <a:lnTo>
                    <a:pt x="1930" y="61"/>
                  </a:lnTo>
                  <a:lnTo>
                    <a:pt x="1930" y="61"/>
                  </a:lnTo>
                  <a:lnTo>
                    <a:pt x="1930" y="65"/>
                  </a:lnTo>
                  <a:lnTo>
                    <a:pt x="1930" y="67"/>
                  </a:lnTo>
                  <a:lnTo>
                    <a:pt x="1930" y="67"/>
                  </a:lnTo>
                  <a:lnTo>
                    <a:pt x="1930" y="70"/>
                  </a:lnTo>
                  <a:lnTo>
                    <a:pt x="1930" y="72"/>
                  </a:lnTo>
                  <a:lnTo>
                    <a:pt x="1930" y="73"/>
                  </a:lnTo>
                  <a:lnTo>
                    <a:pt x="1930" y="75"/>
                  </a:lnTo>
                  <a:lnTo>
                    <a:pt x="1930" y="77"/>
                  </a:lnTo>
                  <a:lnTo>
                    <a:pt x="1930" y="79"/>
                  </a:lnTo>
                  <a:lnTo>
                    <a:pt x="1930" y="81"/>
                  </a:lnTo>
                  <a:lnTo>
                    <a:pt x="1930" y="83"/>
                  </a:lnTo>
                  <a:lnTo>
                    <a:pt x="1930" y="85"/>
                  </a:lnTo>
                  <a:lnTo>
                    <a:pt x="1930" y="87"/>
                  </a:lnTo>
                  <a:lnTo>
                    <a:pt x="1930" y="89"/>
                  </a:lnTo>
                  <a:lnTo>
                    <a:pt x="1930" y="89"/>
                  </a:lnTo>
                  <a:lnTo>
                    <a:pt x="1930" y="93"/>
                  </a:lnTo>
                  <a:lnTo>
                    <a:pt x="1930" y="95"/>
                  </a:lnTo>
                  <a:lnTo>
                    <a:pt x="1930" y="95"/>
                  </a:lnTo>
                  <a:lnTo>
                    <a:pt x="1930" y="99"/>
                  </a:lnTo>
                  <a:lnTo>
                    <a:pt x="1930" y="101"/>
                  </a:lnTo>
                  <a:lnTo>
                    <a:pt x="1930" y="101"/>
                  </a:lnTo>
                  <a:lnTo>
                    <a:pt x="1930" y="103"/>
                  </a:lnTo>
                  <a:lnTo>
                    <a:pt x="1930" y="107"/>
                  </a:lnTo>
                  <a:lnTo>
                    <a:pt x="1930" y="107"/>
                  </a:lnTo>
                  <a:lnTo>
                    <a:pt x="1930" y="109"/>
                  </a:lnTo>
                  <a:lnTo>
                    <a:pt x="1930" y="113"/>
                  </a:lnTo>
                  <a:lnTo>
                    <a:pt x="1930" y="113"/>
                  </a:lnTo>
                  <a:lnTo>
                    <a:pt x="1930" y="115"/>
                  </a:lnTo>
                  <a:lnTo>
                    <a:pt x="1930" y="117"/>
                  </a:lnTo>
                  <a:lnTo>
                    <a:pt x="1930" y="118"/>
                  </a:lnTo>
                  <a:lnTo>
                    <a:pt x="1930" y="121"/>
                  </a:lnTo>
                  <a:lnTo>
                    <a:pt x="1930" y="123"/>
                  </a:lnTo>
                  <a:lnTo>
                    <a:pt x="1930" y="124"/>
                  </a:lnTo>
                  <a:lnTo>
                    <a:pt x="1930" y="127"/>
                  </a:lnTo>
                  <a:lnTo>
                    <a:pt x="1930" y="129"/>
                  </a:lnTo>
                  <a:lnTo>
                    <a:pt x="1930" y="130"/>
                  </a:lnTo>
                  <a:lnTo>
                    <a:pt x="1402" y="130"/>
                  </a:lnTo>
                  <a:close/>
                  <a:moveTo>
                    <a:pt x="62" y="464"/>
                  </a:moveTo>
                  <a:lnTo>
                    <a:pt x="0" y="464"/>
                  </a:lnTo>
                  <a:lnTo>
                    <a:pt x="10" y="453"/>
                  </a:lnTo>
                  <a:lnTo>
                    <a:pt x="19" y="443"/>
                  </a:lnTo>
                  <a:lnTo>
                    <a:pt x="78" y="443"/>
                  </a:lnTo>
                  <a:lnTo>
                    <a:pt x="62" y="464"/>
                  </a:ln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7" name="Freeform 97"/>
            <p:cNvSpPr>
              <a:spLocks/>
            </p:cNvSpPr>
            <p:nvPr userDrawn="1"/>
          </p:nvSpPr>
          <p:spPr bwMode="auto">
            <a:xfrm>
              <a:off x="11005785" y="5041905"/>
              <a:ext cx="111369" cy="11113"/>
            </a:xfrm>
            <a:custGeom>
              <a:avLst/>
              <a:gdLst>
                <a:gd name="T0" fmla="*/ 149 w 170"/>
                <a:gd name="T1" fmla="*/ 21 h 21"/>
                <a:gd name="T2" fmla="*/ 0 w 170"/>
                <a:gd name="T3" fmla="*/ 21 h 21"/>
                <a:gd name="T4" fmla="*/ 9 w 170"/>
                <a:gd name="T5" fmla="*/ 10 h 21"/>
                <a:gd name="T6" fmla="*/ 20 w 170"/>
                <a:gd name="T7" fmla="*/ 0 h 21"/>
                <a:gd name="T8" fmla="*/ 170 w 170"/>
                <a:gd name="T9" fmla="*/ 0 h 21"/>
                <a:gd name="T10" fmla="*/ 160 w 170"/>
                <a:gd name="T11" fmla="*/ 10 h 21"/>
                <a:gd name="T12" fmla="*/ 149 w 170"/>
                <a:gd name="T13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0" h="21">
                  <a:moveTo>
                    <a:pt x="149" y="21"/>
                  </a:moveTo>
                  <a:lnTo>
                    <a:pt x="0" y="21"/>
                  </a:lnTo>
                  <a:lnTo>
                    <a:pt x="9" y="10"/>
                  </a:lnTo>
                  <a:lnTo>
                    <a:pt x="20" y="0"/>
                  </a:lnTo>
                  <a:lnTo>
                    <a:pt x="170" y="0"/>
                  </a:lnTo>
                  <a:lnTo>
                    <a:pt x="160" y="10"/>
                  </a:lnTo>
                  <a:lnTo>
                    <a:pt x="149" y="21"/>
                  </a:ln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8" name="Freeform 98"/>
            <p:cNvSpPr>
              <a:spLocks/>
            </p:cNvSpPr>
            <p:nvPr userDrawn="1"/>
          </p:nvSpPr>
          <p:spPr bwMode="auto">
            <a:xfrm>
              <a:off x="9890140" y="4857750"/>
              <a:ext cx="1838569" cy="217488"/>
            </a:xfrm>
            <a:custGeom>
              <a:avLst/>
              <a:gdLst>
                <a:gd name="T0" fmla="*/ 2374 w 2823"/>
                <a:gd name="T1" fmla="*/ 390 h 410"/>
                <a:gd name="T2" fmla="*/ 2385 w 2823"/>
                <a:gd name="T3" fmla="*/ 390 h 410"/>
                <a:gd name="T4" fmla="*/ 2397 w 2823"/>
                <a:gd name="T5" fmla="*/ 390 h 410"/>
                <a:gd name="T6" fmla="*/ 2425 w 2823"/>
                <a:gd name="T7" fmla="*/ 390 h 410"/>
                <a:gd name="T8" fmla="*/ 2451 w 2823"/>
                <a:gd name="T9" fmla="*/ 388 h 410"/>
                <a:gd name="T10" fmla="*/ 2474 w 2823"/>
                <a:gd name="T11" fmla="*/ 384 h 410"/>
                <a:gd name="T12" fmla="*/ 2497 w 2823"/>
                <a:gd name="T13" fmla="*/ 379 h 410"/>
                <a:gd name="T14" fmla="*/ 2506 w 2823"/>
                <a:gd name="T15" fmla="*/ 376 h 410"/>
                <a:gd name="T16" fmla="*/ 2515 w 2823"/>
                <a:gd name="T17" fmla="*/ 372 h 410"/>
                <a:gd name="T18" fmla="*/ 2525 w 2823"/>
                <a:gd name="T19" fmla="*/ 368 h 410"/>
                <a:gd name="T20" fmla="*/ 2533 w 2823"/>
                <a:gd name="T21" fmla="*/ 363 h 410"/>
                <a:gd name="T22" fmla="*/ 2541 w 2823"/>
                <a:gd name="T23" fmla="*/ 358 h 410"/>
                <a:gd name="T24" fmla="*/ 2549 w 2823"/>
                <a:gd name="T25" fmla="*/ 352 h 410"/>
                <a:gd name="T26" fmla="*/ 2555 w 2823"/>
                <a:gd name="T27" fmla="*/ 346 h 410"/>
                <a:gd name="T28" fmla="*/ 2562 w 2823"/>
                <a:gd name="T29" fmla="*/ 340 h 410"/>
                <a:gd name="T30" fmla="*/ 2595 w 2823"/>
                <a:gd name="T31" fmla="*/ 297 h 410"/>
                <a:gd name="T32" fmla="*/ 2628 w 2823"/>
                <a:gd name="T33" fmla="*/ 254 h 410"/>
                <a:gd name="T34" fmla="*/ 2660 w 2823"/>
                <a:gd name="T35" fmla="*/ 212 h 410"/>
                <a:gd name="T36" fmla="*/ 2692 w 2823"/>
                <a:gd name="T37" fmla="*/ 170 h 410"/>
                <a:gd name="T38" fmla="*/ 2725 w 2823"/>
                <a:gd name="T39" fmla="*/ 128 h 410"/>
                <a:gd name="T40" fmla="*/ 2757 w 2823"/>
                <a:gd name="T41" fmla="*/ 86 h 410"/>
                <a:gd name="T42" fmla="*/ 2790 w 2823"/>
                <a:gd name="T43" fmla="*/ 43 h 410"/>
                <a:gd name="T44" fmla="*/ 2823 w 2823"/>
                <a:gd name="T45" fmla="*/ 0 h 410"/>
                <a:gd name="T46" fmla="*/ 2823 w 2823"/>
                <a:gd name="T47" fmla="*/ 28 h 410"/>
                <a:gd name="T48" fmla="*/ 2823 w 2823"/>
                <a:gd name="T49" fmla="*/ 55 h 410"/>
                <a:gd name="T50" fmla="*/ 2823 w 2823"/>
                <a:gd name="T51" fmla="*/ 82 h 410"/>
                <a:gd name="T52" fmla="*/ 2823 w 2823"/>
                <a:gd name="T53" fmla="*/ 110 h 410"/>
                <a:gd name="T54" fmla="*/ 2823 w 2823"/>
                <a:gd name="T55" fmla="*/ 137 h 410"/>
                <a:gd name="T56" fmla="*/ 2823 w 2823"/>
                <a:gd name="T57" fmla="*/ 164 h 410"/>
                <a:gd name="T58" fmla="*/ 2823 w 2823"/>
                <a:gd name="T59" fmla="*/ 192 h 410"/>
                <a:gd name="T60" fmla="*/ 2823 w 2823"/>
                <a:gd name="T61" fmla="*/ 219 h 410"/>
                <a:gd name="T62" fmla="*/ 2804 w 2823"/>
                <a:gd name="T63" fmla="*/ 245 h 410"/>
                <a:gd name="T64" fmla="*/ 2786 w 2823"/>
                <a:gd name="T65" fmla="*/ 270 h 410"/>
                <a:gd name="T66" fmla="*/ 2768 w 2823"/>
                <a:gd name="T67" fmla="*/ 294 h 410"/>
                <a:gd name="T68" fmla="*/ 2749 w 2823"/>
                <a:gd name="T69" fmla="*/ 320 h 410"/>
                <a:gd name="T70" fmla="*/ 2738 w 2823"/>
                <a:gd name="T71" fmla="*/ 333 h 410"/>
                <a:gd name="T72" fmla="*/ 2727 w 2823"/>
                <a:gd name="T73" fmla="*/ 345 h 410"/>
                <a:gd name="T74" fmla="*/ 2717 w 2823"/>
                <a:gd name="T75" fmla="*/ 355 h 410"/>
                <a:gd name="T76" fmla="*/ 2705 w 2823"/>
                <a:gd name="T77" fmla="*/ 365 h 410"/>
                <a:gd name="T78" fmla="*/ 2694 w 2823"/>
                <a:gd name="T79" fmla="*/ 373 h 410"/>
                <a:gd name="T80" fmla="*/ 2683 w 2823"/>
                <a:gd name="T81" fmla="*/ 380 h 410"/>
                <a:gd name="T82" fmla="*/ 2672 w 2823"/>
                <a:gd name="T83" fmla="*/ 387 h 410"/>
                <a:gd name="T84" fmla="*/ 2660 w 2823"/>
                <a:gd name="T85" fmla="*/ 393 h 410"/>
                <a:gd name="T86" fmla="*/ 2649 w 2823"/>
                <a:gd name="T87" fmla="*/ 397 h 410"/>
                <a:gd name="T88" fmla="*/ 2637 w 2823"/>
                <a:gd name="T89" fmla="*/ 401 h 410"/>
                <a:gd name="T90" fmla="*/ 2625 w 2823"/>
                <a:gd name="T91" fmla="*/ 404 h 410"/>
                <a:gd name="T92" fmla="*/ 2614 w 2823"/>
                <a:gd name="T93" fmla="*/ 407 h 410"/>
                <a:gd name="T94" fmla="*/ 2590 w 2823"/>
                <a:gd name="T95" fmla="*/ 409 h 410"/>
                <a:gd name="T96" fmla="*/ 2567 w 2823"/>
                <a:gd name="T97" fmla="*/ 410 h 410"/>
                <a:gd name="T98" fmla="*/ 2523 w 2823"/>
                <a:gd name="T99" fmla="*/ 410 h 410"/>
                <a:gd name="T100" fmla="*/ 2481 w 2823"/>
                <a:gd name="T101" fmla="*/ 410 h 410"/>
                <a:gd name="T102" fmla="*/ 2439 w 2823"/>
                <a:gd name="T103" fmla="*/ 410 h 410"/>
                <a:gd name="T104" fmla="*/ 2397 w 2823"/>
                <a:gd name="T105" fmla="*/ 410 h 410"/>
                <a:gd name="T106" fmla="*/ 2387 w 2823"/>
                <a:gd name="T107" fmla="*/ 410 h 410"/>
                <a:gd name="T108" fmla="*/ 2375 w 2823"/>
                <a:gd name="T109" fmla="*/ 410 h 410"/>
                <a:gd name="T110" fmla="*/ 0 w 2823"/>
                <a:gd name="T111" fmla="*/ 410 h 410"/>
                <a:gd name="T112" fmla="*/ 17 w 2823"/>
                <a:gd name="T113" fmla="*/ 390 h 410"/>
                <a:gd name="T114" fmla="*/ 2374 w 2823"/>
                <a:gd name="T115" fmla="*/ 390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23" h="410">
                  <a:moveTo>
                    <a:pt x="2374" y="390"/>
                  </a:moveTo>
                  <a:lnTo>
                    <a:pt x="2385" y="390"/>
                  </a:lnTo>
                  <a:lnTo>
                    <a:pt x="2397" y="390"/>
                  </a:lnTo>
                  <a:lnTo>
                    <a:pt x="2425" y="390"/>
                  </a:lnTo>
                  <a:lnTo>
                    <a:pt x="2451" y="388"/>
                  </a:lnTo>
                  <a:lnTo>
                    <a:pt x="2474" y="384"/>
                  </a:lnTo>
                  <a:lnTo>
                    <a:pt x="2497" y="379"/>
                  </a:lnTo>
                  <a:lnTo>
                    <a:pt x="2506" y="376"/>
                  </a:lnTo>
                  <a:lnTo>
                    <a:pt x="2515" y="372"/>
                  </a:lnTo>
                  <a:lnTo>
                    <a:pt x="2525" y="368"/>
                  </a:lnTo>
                  <a:lnTo>
                    <a:pt x="2533" y="363"/>
                  </a:lnTo>
                  <a:lnTo>
                    <a:pt x="2541" y="358"/>
                  </a:lnTo>
                  <a:lnTo>
                    <a:pt x="2549" y="352"/>
                  </a:lnTo>
                  <a:lnTo>
                    <a:pt x="2555" y="346"/>
                  </a:lnTo>
                  <a:lnTo>
                    <a:pt x="2562" y="340"/>
                  </a:lnTo>
                  <a:lnTo>
                    <a:pt x="2595" y="297"/>
                  </a:lnTo>
                  <a:lnTo>
                    <a:pt x="2628" y="254"/>
                  </a:lnTo>
                  <a:lnTo>
                    <a:pt x="2660" y="212"/>
                  </a:lnTo>
                  <a:lnTo>
                    <a:pt x="2692" y="170"/>
                  </a:lnTo>
                  <a:lnTo>
                    <a:pt x="2725" y="128"/>
                  </a:lnTo>
                  <a:lnTo>
                    <a:pt x="2757" y="86"/>
                  </a:lnTo>
                  <a:lnTo>
                    <a:pt x="2790" y="43"/>
                  </a:lnTo>
                  <a:lnTo>
                    <a:pt x="2823" y="0"/>
                  </a:lnTo>
                  <a:lnTo>
                    <a:pt x="2823" y="28"/>
                  </a:lnTo>
                  <a:lnTo>
                    <a:pt x="2823" y="55"/>
                  </a:lnTo>
                  <a:lnTo>
                    <a:pt x="2823" y="82"/>
                  </a:lnTo>
                  <a:lnTo>
                    <a:pt x="2823" y="110"/>
                  </a:lnTo>
                  <a:lnTo>
                    <a:pt x="2823" y="137"/>
                  </a:lnTo>
                  <a:lnTo>
                    <a:pt x="2823" y="164"/>
                  </a:lnTo>
                  <a:lnTo>
                    <a:pt x="2823" y="192"/>
                  </a:lnTo>
                  <a:lnTo>
                    <a:pt x="2823" y="219"/>
                  </a:lnTo>
                  <a:lnTo>
                    <a:pt x="2804" y="245"/>
                  </a:lnTo>
                  <a:lnTo>
                    <a:pt x="2786" y="270"/>
                  </a:lnTo>
                  <a:lnTo>
                    <a:pt x="2768" y="294"/>
                  </a:lnTo>
                  <a:lnTo>
                    <a:pt x="2749" y="320"/>
                  </a:lnTo>
                  <a:lnTo>
                    <a:pt x="2738" y="333"/>
                  </a:lnTo>
                  <a:lnTo>
                    <a:pt x="2727" y="345"/>
                  </a:lnTo>
                  <a:lnTo>
                    <a:pt x="2717" y="355"/>
                  </a:lnTo>
                  <a:lnTo>
                    <a:pt x="2705" y="365"/>
                  </a:lnTo>
                  <a:lnTo>
                    <a:pt x="2694" y="373"/>
                  </a:lnTo>
                  <a:lnTo>
                    <a:pt x="2683" y="380"/>
                  </a:lnTo>
                  <a:lnTo>
                    <a:pt x="2672" y="387"/>
                  </a:lnTo>
                  <a:lnTo>
                    <a:pt x="2660" y="393"/>
                  </a:lnTo>
                  <a:lnTo>
                    <a:pt x="2649" y="397"/>
                  </a:lnTo>
                  <a:lnTo>
                    <a:pt x="2637" y="401"/>
                  </a:lnTo>
                  <a:lnTo>
                    <a:pt x="2625" y="404"/>
                  </a:lnTo>
                  <a:lnTo>
                    <a:pt x="2614" y="407"/>
                  </a:lnTo>
                  <a:lnTo>
                    <a:pt x="2590" y="409"/>
                  </a:lnTo>
                  <a:lnTo>
                    <a:pt x="2567" y="410"/>
                  </a:lnTo>
                  <a:lnTo>
                    <a:pt x="2523" y="410"/>
                  </a:lnTo>
                  <a:lnTo>
                    <a:pt x="2481" y="410"/>
                  </a:lnTo>
                  <a:lnTo>
                    <a:pt x="2439" y="410"/>
                  </a:lnTo>
                  <a:lnTo>
                    <a:pt x="2397" y="410"/>
                  </a:lnTo>
                  <a:lnTo>
                    <a:pt x="2387" y="410"/>
                  </a:lnTo>
                  <a:lnTo>
                    <a:pt x="2375" y="410"/>
                  </a:lnTo>
                  <a:lnTo>
                    <a:pt x="0" y="410"/>
                  </a:lnTo>
                  <a:lnTo>
                    <a:pt x="17" y="390"/>
                  </a:lnTo>
                  <a:lnTo>
                    <a:pt x="2374" y="39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19" name="Номер слайда 23"/>
          <p:cNvSpPr>
            <a:spLocks noGrp="1"/>
          </p:cNvSpPr>
          <p:nvPr userDrawn="1">
            <p:ph type="sldNum" sz="quarter" idx="4"/>
          </p:nvPr>
        </p:nvSpPr>
        <p:spPr>
          <a:xfrm>
            <a:off x="8354516" y="4815046"/>
            <a:ext cx="576064" cy="267494"/>
          </a:xfrm>
          <a:prstGeom prst="rect">
            <a:avLst/>
          </a:prstGeom>
        </p:spPr>
        <p:txBody>
          <a:bodyPr/>
          <a:lstStyle>
            <a:lvl1pPr marL="0" algn="r" defTabSz="519371" rtl="0" eaLnBrk="1" latinLnBrk="0" hangingPunct="1">
              <a:defRPr lang="ru-RU" sz="1400" b="1" kern="1200" smtClean="0">
                <a:solidFill>
                  <a:srgbClr val="E21A1A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97AB2056-D4F9-4782-8969-B182112ED6BA}" type="slidenum">
              <a:rPr/>
              <a:pPr>
                <a:defRPr/>
              </a:pPr>
              <a:t>‹#›</a:t>
            </a:fld>
            <a:endParaRPr dirty="0"/>
          </a:p>
        </p:txBody>
      </p:sp>
      <p:cxnSp>
        <p:nvCxnSpPr>
          <p:cNvPr id="20" name="Прямая соединительная линия 19"/>
          <p:cNvCxnSpPr/>
          <p:nvPr userDrawn="1"/>
        </p:nvCxnSpPr>
        <p:spPr>
          <a:xfrm>
            <a:off x="0" y="5088602"/>
            <a:ext cx="7740352" cy="0"/>
          </a:xfrm>
          <a:prstGeom prst="line">
            <a:avLst/>
          </a:prstGeom>
          <a:ln w="95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9"/>
          <p:cNvGrpSpPr>
            <a:grpSpLocks noChangeAspect="1"/>
          </p:cNvGrpSpPr>
          <p:nvPr userDrawn="1"/>
        </p:nvGrpSpPr>
        <p:grpSpPr bwMode="auto">
          <a:xfrm>
            <a:off x="7778452" y="4887818"/>
            <a:ext cx="520293" cy="231737"/>
            <a:chOff x="5121" y="2970"/>
            <a:chExt cx="467" cy="208"/>
          </a:xfrm>
        </p:grpSpPr>
        <p:sp>
          <p:nvSpPr>
            <p:cNvPr id="22" name="AutoShape 8"/>
            <p:cNvSpPr>
              <a:spLocks noChangeAspect="1" noChangeArrowheads="1" noTextEdit="1"/>
            </p:cNvSpPr>
            <p:nvPr userDrawn="1"/>
          </p:nvSpPr>
          <p:spPr bwMode="auto">
            <a:xfrm>
              <a:off x="5121" y="2970"/>
              <a:ext cx="467" cy="2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3" name="Freeform 10"/>
            <p:cNvSpPr>
              <a:spLocks/>
            </p:cNvSpPr>
            <p:nvPr userDrawn="1"/>
          </p:nvSpPr>
          <p:spPr bwMode="auto">
            <a:xfrm>
              <a:off x="5418" y="2970"/>
              <a:ext cx="170" cy="156"/>
            </a:xfrm>
            <a:custGeom>
              <a:avLst/>
              <a:gdLst/>
              <a:ahLst/>
              <a:cxnLst>
                <a:cxn ang="0">
                  <a:pos x="79" y="3361"/>
                </a:cxn>
                <a:cxn ang="0">
                  <a:pos x="0" y="3674"/>
                </a:cxn>
                <a:cxn ang="0">
                  <a:pos x="97" y="3969"/>
                </a:cxn>
                <a:cxn ang="0">
                  <a:pos x="482" y="4508"/>
                </a:cxn>
                <a:cxn ang="0">
                  <a:pos x="850" y="4974"/>
                </a:cxn>
                <a:cxn ang="0">
                  <a:pos x="1191" y="5261"/>
                </a:cxn>
                <a:cxn ang="0">
                  <a:pos x="1656" y="5422"/>
                </a:cxn>
                <a:cxn ang="0">
                  <a:pos x="2310" y="5462"/>
                </a:cxn>
                <a:cxn ang="0">
                  <a:pos x="2993" y="5462"/>
                </a:cxn>
                <a:cxn ang="0">
                  <a:pos x="3650" y="5459"/>
                </a:cxn>
                <a:cxn ang="0">
                  <a:pos x="4228" y="5420"/>
                </a:cxn>
                <a:cxn ang="0">
                  <a:pos x="4750" y="5296"/>
                </a:cxn>
                <a:cxn ang="0">
                  <a:pos x="5221" y="5040"/>
                </a:cxn>
                <a:cxn ang="0">
                  <a:pos x="5625" y="4619"/>
                </a:cxn>
                <a:cxn ang="0">
                  <a:pos x="5856" y="4092"/>
                </a:cxn>
                <a:cxn ang="0">
                  <a:pos x="5949" y="3502"/>
                </a:cxn>
                <a:cxn ang="0">
                  <a:pos x="5965" y="2673"/>
                </a:cxn>
                <a:cxn ang="0">
                  <a:pos x="5953" y="1969"/>
                </a:cxn>
                <a:cxn ang="0">
                  <a:pos x="5900" y="1557"/>
                </a:cxn>
                <a:cxn ang="0">
                  <a:pos x="5817" y="1258"/>
                </a:cxn>
                <a:cxn ang="0">
                  <a:pos x="5711" y="1009"/>
                </a:cxn>
                <a:cxn ang="0">
                  <a:pos x="5577" y="788"/>
                </a:cxn>
                <a:cxn ang="0">
                  <a:pos x="5426" y="601"/>
                </a:cxn>
                <a:cxn ang="0">
                  <a:pos x="5222" y="427"/>
                </a:cxn>
                <a:cxn ang="0">
                  <a:pos x="4725" y="164"/>
                </a:cxn>
                <a:cxn ang="0">
                  <a:pos x="4192" y="42"/>
                </a:cxn>
                <a:cxn ang="0">
                  <a:pos x="3519" y="6"/>
                </a:cxn>
                <a:cxn ang="0">
                  <a:pos x="2584" y="6"/>
                </a:cxn>
                <a:cxn ang="0">
                  <a:pos x="1910" y="0"/>
                </a:cxn>
                <a:cxn ang="0">
                  <a:pos x="1516" y="50"/>
                </a:cxn>
                <a:cxn ang="0">
                  <a:pos x="1257" y="281"/>
                </a:cxn>
                <a:cxn ang="0">
                  <a:pos x="1189" y="819"/>
                </a:cxn>
                <a:cxn ang="0">
                  <a:pos x="1864" y="922"/>
                </a:cxn>
                <a:cxn ang="0">
                  <a:pos x="2796" y="916"/>
                </a:cxn>
                <a:cxn ang="0">
                  <a:pos x="3419" y="904"/>
                </a:cxn>
                <a:cxn ang="0">
                  <a:pos x="3778" y="949"/>
                </a:cxn>
                <a:cxn ang="0">
                  <a:pos x="4036" y="1119"/>
                </a:cxn>
                <a:cxn ang="0">
                  <a:pos x="4135" y="1424"/>
                </a:cxn>
                <a:cxn ang="0">
                  <a:pos x="4152" y="2297"/>
                </a:cxn>
                <a:cxn ang="0">
                  <a:pos x="4147" y="3711"/>
                </a:cxn>
                <a:cxn ang="0">
                  <a:pos x="4132" y="4095"/>
                </a:cxn>
                <a:cxn ang="0">
                  <a:pos x="4091" y="4254"/>
                </a:cxn>
                <a:cxn ang="0">
                  <a:pos x="4005" y="4389"/>
                </a:cxn>
                <a:cxn ang="0">
                  <a:pos x="3868" y="4485"/>
                </a:cxn>
                <a:cxn ang="0">
                  <a:pos x="3677" y="4536"/>
                </a:cxn>
                <a:cxn ang="0">
                  <a:pos x="3291" y="4549"/>
                </a:cxn>
                <a:cxn ang="0">
                  <a:pos x="2883" y="4549"/>
                </a:cxn>
                <a:cxn ang="0">
                  <a:pos x="2471" y="4549"/>
                </a:cxn>
                <a:cxn ang="0">
                  <a:pos x="2113" y="4531"/>
                </a:cxn>
                <a:cxn ang="0">
                  <a:pos x="1961" y="4478"/>
                </a:cxn>
                <a:cxn ang="0">
                  <a:pos x="1854" y="4369"/>
                </a:cxn>
                <a:cxn ang="0">
                  <a:pos x="1809" y="4203"/>
                </a:cxn>
                <a:cxn ang="0">
                  <a:pos x="1842" y="4039"/>
                </a:cxn>
                <a:cxn ang="0">
                  <a:pos x="2001" y="3781"/>
                </a:cxn>
                <a:cxn ang="0">
                  <a:pos x="3248" y="2121"/>
                </a:cxn>
                <a:cxn ang="0">
                  <a:pos x="3426" y="1883"/>
                </a:cxn>
              </a:cxnLst>
              <a:rect l="0" t="0" r="r" b="b"/>
              <a:pathLst>
                <a:path w="5966" h="5463">
                  <a:moveTo>
                    <a:pt x="308" y="3008"/>
                  </a:moveTo>
                  <a:lnTo>
                    <a:pt x="265" y="3065"/>
                  </a:lnTo>
                  <a:lnTo>
                    <a:pt x="226" y="3121"/>
                  </a:lnTo>
                  <a:lnTo>
                    <a:pt x="190" y="3173"/>
                  </a:lnTo>
                  <a:lnTo>
                    <a:pt x="157" y="3223"/>
                  </a:lnTo>
                  <a:lnTo>
                    <a:pt x="128" y="3271"/>
                  </a:lnTo>
                  <a:lnTo>
                    <a:pt x="102" y="3317"/>
                  </a:lnTo>
                  <a:lnTo>
                    <a:pt x="79" y="3361"/>
                  </a:lnTo>
                  <a:lnTo>
                    <a:pt x="58" y="3404"/>
                  </a:lnTo>
                  <a:lnTo>
                    <a:pt x="42" y="3446"/>
                  </a:lnTo>
                  <a:lnTo>
                    <a:pt x="28" y="3486"/>
                  </a:lnTo>
                  <a:lnTo>
                    <a:pt x="16" y="3525"/>
                  </a:lnTo>
                  <a:lnTo>
                    <a:pt x="8" y="3563"/>
                  </a:lnTo>
                  <a:lnTo>
                    <a:pt x="3" y="3601"/>
                  </a:lnTo>
                  <a:lnTo>
                    <a:pt x="0" y="3637"/>
                  </a:lnTo>
                  <a:lnTo>
                    <a:pt x="0" y="3674"/>
                  </a:lnTo>
                  <a:lnTo>
                    <a:pt x="3" y="3710"/>
                  </a:lnTo>
                  <a:lnTo>
                    <a:pt x="9" y="3746"/>
                  </a:lnTo>
                  <a:lnTo>
                    <a:pt x="17" y="3782"/>
                  </a:lnTo>
                  <a:lnTo>
                    <a:pt x="29" y="3819"/>
                  </a:lnTo>
                  <a:lnTo>
                    <a:pt x="42" y="3855"/>
                  </a:lnTo>
                  <a:lnTo>
                    <a:pt x="58" y="3892"/>
                  </a:lnTo>
                  <a:lnTo>
                    <a:pt x="77" y="3930"/>
                  </a:lnTo>
                  <a:lnTo>
                    <a:pt x="97" y="3969"/>
                  </a:lnTo>
                  <a:lnTo>
                    <a:pt x="121" y="4009"/>
                  </a:lnTo>
                  <a:lnTo>
                    <a:pt x="146" y="4050"/>
                  </a:lnTo>
                  <a:lnTo>
                    <a:pt x="175" y="4092"/>
                  </a:lnTo>
                  <a:lnTo>
                    <a:pt x="204" y="4136"/>
                  </a:lnTo>
                  <a:lnTo>
                    <a:pt x="237" y="4182"/>
                  </a:lnTo>
                  <a:lnTo>
                    <a:pt x="309" y="4279"/>
                  </a:lnTo>
                  <a:lnTo>
                    <a:pt x="389" y="4385"/>
                  </a:lnTo>
                  <a:lnTo>
                    <a:pt x="482" y="4508"/>
                  </a:lnTo>
                  <a:lnTo>
                    <a:pt x="570" y="4625"/>
                  </a:lnTo>
                  <a:lnTo>
                    <a:pt x="611" y="4680"/>
                  </a:lnTo>
                  <a:lnTo>
                    <a:pt x="652" y="4735"/>
                  </a:lnTo>
                  <a:lnTo>
                    <a:pt x="693" y="4786"/>
                  </a:lnTo>
                  <a:lnTo>
                    <a:pt x="732" y="4836"/>
                  </a:lnTo>
                  <a:lnTo>
                    <a:pt x="771" y="4884"/>
                  </a:lnTo>
                  <a:lnTo>
                    <a:pt x="810" y="4930"/>
                  </a:lnTo>
                  <a:lnTo>
                    <a:pt x="850" y="4974"/>
                  </a:lnTo>
                  <a:lnTo>
                    <a:pt x="889" y="5017"/>
                  </a:lnTo>
                  <a:lnTo>
                    <a:pt x="930" y="5057"/>
                  </a:lnTo>
                  <a:lnTo>
                    <a:pt x="971" y="5096"/>
                  </a:lnTo>
                  <a:lnTo>
                    <a:pt x="1011" y="5133"/>
                  </a:lnTo>
                  <a:lnTo>
                    <a:pt x="1054" y="5168"/>
                  </a:lnTo>
                  <a:lnTo>
                    <a:pt x="1098" y="5200"/>
                  </a:lnTo>
                  <a:lnTo>
                    <a:pt x="1144" y="5232"/>
                  </a:lnTo>
                  <a:lnTo>
                    <a:pt x="1191" y="5261"/>
                  </a:lnTo>
                  <a:lnTo>
                    <a:pt x="1241" y="5287"/>
                  </a:lnTo>
                  <a:lnTo>
                    <a:pt x="1292" y="5313"/>
                  </a:lnTo>
                  <a:lnTo>
                    <a:pt x="1345" y="5336"/>
                  </a:lnTo>
                  <a:lnTo>
                    <a:pt x="1402" y="5357"/>
                  </a:lnTo>
                  <a:lnTo>
                    <a:pt x="1461" y="5376"/>
                  </a:lnTo>
                  <a:lnTo>
                    <a:pt x="1523" y="5394"/>
                  </a:lnTo>
                  <a:lnTo>
                    <a:pt x="1588" y="5409"/>
                  </a:lnTo>
                  <a:lnTo>
                    <a:pt x="1656" y="5422"/>
                  </a:lnTo>
                  <a:lnTo>
                    <a:pt x="1729" y="5434"/>
                  </a:lnTo>
                  <a:lnTo>
                    <a:pt x="1804" y="5443"/>
                  </a:lnTo>
                  <a:lnTo>
                    <a:pt x="1883" y="5450"/>
                  </a:lnTo>
                  <a:lnTo>
                    <a:pt x="1967" y="5455"/>
                  </a:lnTo>
                  <a:lnTo>
                    <a:pt x="2055" y="5458"/>
                  </a:lnTo>
                  <a:lnTo>
                    <a:pt x="2140" y="5460"/>
                  </a:lnTo>
                  <a:lnTo>
                    <a:pt x="2225" y="5461"/>
                  </a:lnTo>
                  <a:lnTo>
                    <a:pt x="2310" y="5462"/>
                  </a:lnTo>
                  <a:lnTo>
                    <a:pt x="2395" y="5463"/>
                  </a:lnTo>
                  <a:lnTo>
                    <a:pt x="2480" y="5463"/>
                  </a:lnTo>
                  <a:lnTo>
                    <a:pt x="2565" y="5463"/>
                  </a:lnTo>
                  <a:lnTo>
                    <a:pt x="2651" y="5463"/>
                  </a:lnTo>
                  <a:lnTo>
                    <a:pt x="2737" y="5463"/>
                  </a:lnTo>
                  <a:lnTo>
                    <a:pt x="2822" y="5463"/>
                  </a:lnTo>
                  <a:lnTo>
                    <a:pt x="2907" y="5462"/>
                  </a:lnTo>
                  <a:lnTo>
                    <a:pt x="2993" y="5462"/>
                  </a:lnTo>
                  <a:lnTo>
                    <a:pt x="3078" y="5462"/>
                  </a:lnTo>
                  <a:lnTo>
                    <a:pt x="3164" y="5461"/>
                  </a:lnTo>
                  <a:lnTo>
                    <a:pt x="3249" y="5461"/>
                  </a:lnTo>
                  <a:lnTo>
                    <a:pt x="3333" y="5461"/>
                  </a:lnTo>
                  <a:lnTo>
                    <a:pt x="3418" y="5461"/>
                  </a:lnTo>
                  <a:lnTo>
                    <a:pt x="3497" y="5460"/>
                  </a:lnTo>
                  <a:lnTo>
                    <a:pt x="3574" y="5460"/>
                  </a:lnTo>
                  <a:lnTo>
                    <a:pt x="3650" y="5459"/>
                  </a:lnTo>
                  <a:lnTo>
                    <a:pt x="3726" y="5457"/>
                  </a:lnTo>
                  <a:lnTo>
                    <a:pt x="3800" y="5455"/>
                  </a:lnTo>
                  <a:lnTo>
                    <a:pt x="3874" y="5451"/>
                  </a:lnTo>
                  <a:lnTo>
                    <a:pt x="3946" y="5447"/>
                  </a:lnTo>
                  <a:lnTo>
                    <a:pt x="4018" y="5442"/>
                  </a:lnTo>
                  <a:lnTo>
                    <a:pt x="4088" y="5436"/>
                  </a:lnTo>
                  <a:lnTo>
                    <a:pt x="4159" y="5429"/>
                  </a:lnTo>
                  <a:lnTo>
                    <a:pt x="4228" y="5420"/>
                  </a:lnTo>
                  <a:lnTo>
                    <a:pt x="4296" y="5410"/>
                  </a:lnTo>
                  <a:lnTo>
                    <a:pt x="4364" y="5399"/>
                  </a:lnTo>
                  <a:lnTo>
                    <a:pt x="4431" y="5387"/>
                  </a:lnTo>
                  <a:lnTo>
                    <a:pt x="4496" y="5372"/>
                  </a:lnTo>
                  <a:lnTo>
                    <a:pt x="4561" y="5356"/>
                  </a:lnTo>
                  <a:lnTo>
                    <a:pt x="4625" y="5337"/>
                  </a:lnTo>
                  <a:lnTo>
                    <a:pt x="4688" y="5318"/>
                  </a:lnTo>
                  <a:lnTo>
                    <a:pt x="4750" y="5296"/>
                  </a:lnTo>
                  <a:lnTo>
                    <a:pt x="4813" y="5272"/>
                  </a:lnTo>
                  <a:lnTo>
                    <a:pt x="4873" y="5246"/>
                  </a:lnTo>
                  <a:lnTo>
                    <a:pt x="4933" y="5218"/>
                  </a:lnTo>
                  <a:lnTo>
                    <a:pt x="4992" y="5187"/>
                  </a:lnTo>
                  <a:lnTo>
                    <a:pt x="5051" y="5154"/>
                  </a:lnTo>
                  <a:lnTo>
                    <a:pt x="5109" y="5118"/>
                  </a:lnTo>
                  <a:lnTo>
                    <a:pt x="5165" y="5081"/>
                  </a:lnTo>
                  <a:lnTo>
                    <a:pt x="5221" y="5040"/>
                  </a:lnTo>
                  <a:lnTo>
                    <a:pt x="5276" y="4996"/>
                  </a:lnTo>
                  <a:lnTo>
                    <a:pt x="5332" y="4950"/>
                  </a:lnTo>
                  <a:lnTo>
                    <a:pt x="5385" y="4900"/>
                  </a:lnTo>
                  <a:lnTo>
                    <a:pt x="5438" y="4847"/>
                  </a:lnTo>
                  <a:lnTo>
                    <a:pt x="5490" y="4792"/>
                  </a:lnTo>
                  <a:lnTo>
                    <a:pt x="5538" y="4736"/>
                  </a:lnTo>
                  <a:lnTo>
                    <a:pt x="5583" y="4678"/>
                  </a:lnTo>
                  <a:lnTo>
                    <a:pt x="5625" y="4619"/>
                  </a:lnTo>
                  <a:lnTo>
                    <a:pt x="5663" y="4558"/>
                  </a:lnTo>
                  <a:lnTo>
                    <a:pt x="5698" y="4495"/>
                  </a:lnTo>
                  <a:lnTo>
                    <a:pt x="5731" y="4432"/>
                  </a:lnTo>
                  <a:lnTo>
                    <a:pt x="5761" y="4366"/>
                  </a:lnTo>
                  <a:lnTo>
                    <a:pt x="5788" y="4299"/>
                  </a:lnTo>
                  <a:lnTo>
                    <a:pt x="5813" y="4231"/>
                  </a:lnTo>
                  <a:lnTo>
                    <a:pt x="5835" y="4161"/>
                  </a:lnTo>
                  <a:lnTo>
                    <a:pt x="5856" y="4092"/>
                  </a:lnTo>
                  <a:lnTo>
                    <a:pt x="5873" y="4020"/>
                  </a:lnTo>
                  <a:lnTo>
                    <a:pt x="5889" y="3949"/>
                  </a:lnTo>
                  <a:lnTo>
                    <a:pt x="5904" y="3875"/>
                  </a:lnTo>
                  <a:lnTo>
                    <a:pt x="5916" y="3802"/>
                  </a:lnTo>
                  <a:lnTo>
                    <a:pt x="5926" y="3728"/>
                  </a:lnTo>
                  <a:lnTo>
                    <a:pt x="5935" y="3653"/>
                  </a:lnTo>
                  <a:lnTo>
                    <a:pt x="5943" y="3578"/>
                  </a:lnTo>
                  <a:lnTo>
                    <a:pt x="5949" y="3502"/>
                  </a:lnTo>
                  <a:lnTo>
                    <a:pt x="5954" y="3427"/>
                  </a:lnTo>
                  <a:lnTo>
                    <a:pt x="5958" y="3351"/>
                  </a:lnTo>
                  <a:lnTo>
                    <a:pt x="5961" y="3274"/>
                  </a:lnTo>
                  <a:lnTo>
                    <a:pt x="5963" y="3198"/>
                  </a:lnTo>
                  <a:lnTo>
                    <a:pt x="5965" y="3123"/>
                  </a:lnTo>
                  <a:lnTo>
                    <a:pt x="5966" y="2971"/>
                  </a:lnTo>
                  <a:lnTo>
                    <a:pt x="5966" y="2821"/>
                  </a:lnTo>
                  <a:lnTo>
                    <a:pt x="5965" y="2673"/>
                  </a:lnTo>
                  <a:lnTo>
                    <a:pt x="5964" y="2528"/>
                  </a:lnTo>
                  <a:lnTo>
                    <a:pt x="5964" y="2444"/>
                  </a:lnTo>
                  <a:lnTo>
                    <a:pt x="5964" y="2361"/>
                  </a:lnTo>
                  <a:lnTo>
                    <a:pt x="5964" y="2280"/>
                  </a:lnTo>
                  <a:lnTo>
                    <a:pt x="5962" y="2200"/>
                  </a:lnTo>
                  <a:lnTo>
                    <a:pt x="5960" y="2123"/>
                  </a:lnTo>
                  <a:lnTo>
                    <a:pt x="5958" y="2045"/>
                  </a:lnTo>
                  <a:lnTo>
                    <a:pt x="5953" y="1969"/>
                  </a:lnTo>
                  <a:lnTo>
                    <a:pt x="5948" y="1893"/>
                  </a:lnTo>
                  <a:lnTo>
                    <a:pt x="5940" y="1819"/>
                  </a:lnTo>
                  <a:lnTo>
                    <a:pt x="5931" y="1744"/>
                  </a:lnTo>
                  <a:lnTo>
                    <a:pt x="5926" y="1706"/>
                  </a:lnTo>
                  <a:lnTo>
                    <a:pt x="5921" y="1669"/>
                  </a:lnTo>
                  <a:lnTo>
                    <a:pt x="5914" y="1631"/>
                  </a:lnTo>
                  <a:lnTo>
                    <a:pt x="5908" y="1595"/>
                  </a:lnTo>
                  <a:lnTo>
                    <a:pt x="5900" y="1557"/>
                  </a:lnTo>
                  <a:lnTo>
                    <a:pt x="5891" y="1519"/>
                  </a:lnTo>
                  <a:lnTo>
                    <a:pt x="5883" y="1482"/>
                  </a:lnTo>
                  <a:lnTo>
                    <a:pt x="5874" y="1444"/>
                  </a:lnTo>
                  <a:lnTo>
                    <a:pt x="5864" y="1406"/>
                  </a:lnTo>
                  <a:lnTo>
                    <a:pt x="5853" y="1367"/>
                  </a:lnTo>
                  <a:lnTo>
                    <a:pt x="5841" y="1329"/>
                  </a:lnTo>
                  <a:lnTo>
                    <a:pt x="5828" y="1291"/>
                  </a:lnTo>
                  <a:lnTo>
                    <a:pt x="5817" y="1258"/>
                  </a:lnTo>
                  <a:lnTo>
                    <a:pt x="5806" y="1226"/>
                  </a:lnTo>
                  <a:lnTo>
                    <a:pt x="5793" y="1193"/>
                  </a:lnTo>
                  <a:lnTo>
                    <a:pt x="5781" y="1162"/>
                  </a:lnTo>
                  <a:lnTo>
                    <a:pt x="5768" y="1131"/>
                  </a:lnTo>
                  <a:lnTo>
                    <a:pt x="5754" y="1099"/>
                  </a:lnTo>
                  <a:lnTo>
                    <a:pt x="5739" y="1069"/>
                  </a:lnTo>
                  <a:lnTo>
                    <a:pt x="5725" y="1039"/>
                  </a:lnTo>
                  <a:lnTo>
                    <a:pt x="5711" y="1009"/>
                  </a:lnTo>
                  <a:lnTo>
                    <a:pt x="5695" y="979"/>
                  </a:lnTo>
                  <a:lnTo>
                    <a:pt x="5679" y="951"/>
                  </a:lnTo>
                  <a:lnTo>
                    <a:pt x="5663" y="922"/>
                  </a:lnTo>
                  <a:lnTo>
                    <a:pt x="5646" y="895"/>
                  </a:lnTo>
                  <a:lnTo>
                    <a:pt x="5630" y="867"/>
                  </a:lnTo>
                  <a:lnTo>
                    <a:pt x="5613" y="840"/>
                  </a:lnTo>
                  <a:lnTo>
                    <a:pt x="5595" y="814"/>
                  </a:lnTo>
                  <a:lnTo>
                    <a:pt x="5577" y="788"/>
                  </a:lnTo>
                  <a:lnTo>
                    <a:pt x="5559" y="762"/>
                  </a:lnTo>
                  <a:lnTo>
                    <a:pt x="5541" y="738"/>
                  </a:lnTo>
                  <a:lnTo>
                    <a:pt x="5522" y="713"/>
                  </a:lnTo>
                  <a:lnTo>
                    <a:pt x="5503" y="690"/>
                  </a:lnTo>
                  <a:lnTo>
                    <a:pt x="5484" y="666"/>
                  </a:lnTo>
                  <a:lnTo>
                    <a:pt x="5464" y="644"/>
                  </a:lnTo>
                  <a:lnTo>
                    <a:pt x="5445" y="622"/>
                  </a:lnTo>
                  <a:lnTo>
                    <a:pt x="5426" y="601"/>
                  </a:lnTo>
                  <a:lnTo>
                    <a:pt x="5405" y="580"/>
                  </a:lnTo>
                  <a:lnTo>
                    <a:pt x="5386" y="561"/>
                  </a:lnTo>
                  <a:lnTo>
                    <a:pt x="5365" y="541"/>
                  </a:lnTo>
                  <a:lnTo>
                    <a:pt x="5345" y="523"/>
                  </a:lnTo>
                  <a:lnTo>
                    <a:pt x="5324" y="506"/>
                  </a:lnTo>
                  <a:lnTo>
                    <a:pt x="5304" y="488"/>
                  </a:lnTo>
                  <a:lnTo>
                    <a:pt x="5284" y="472"/>
                  </a:lnTo>
                  <a:lnTo>
                    <a:pt x="5222" y="427"/>
                  </a:lnTo>
                  <a:lnTo>
                    <a:pt x="5162" y="384"/>
                  </a:lnTo>
                  <a:lnTo>
                    <a:pt x="5101" y="345"/>
                  </a:lnTo>
                  <a:lnTo>
                    <a:pt x="5038" y="308"/>
                  </a:lnTo>
                  <a:lnTo>
                    <a:pt x="4977" y="274"/>
                  </a:lnTo>
                  <a:lnTo>
                    <a:pt x="4915" y="243"/>
                  </a:lnTo>
                  <a:lnTo>
                    <a:pt x="4852" y="214"/>
                  </a:lnTo>
                  <a:lnTo>
                    <a:pt x="4789" y="187"/>
                  </a:lnTo>
                  <a:lnTo>
                    <a:pt x="4725" y="164"/>
                  </a:lnTo>
                  <a:lnTo>
                    <a:pt x="4661" y="142"/>
                  </a:lnTo>
                  <a:lnTo>
                    <a:pt x="4596" y="122"/>
                  </a:lnTo>
                  <a:lnTo>
                    <a:pt x="4531" y="104"/>
                  </a:lnTo>
                  <a:lnTo>
                    <a:pt x="4464" y="89"/>
                  </a:lnTo>
                  <a:lnTo>
                    <a:pt x="4397" y="75"/>
                  </a:lnTo>
                  <a:lnTo>
                    <a:pt x="4329" y="62"/>
                  </a:lnTo>
                  <a:lnTo>
                    <a:pt x="4261" y="51"/>
                  </a:lnTo>
                  <a:lnTo>
                    <a:pt x="4192" y="42"/>
                  </a:lnTo>
                  <a:lnTo>
                    <a:pt x="4121" y="34"/>
                  </a:lnTo>
                  <a:lnTo>
                    <a:pt x="4050" y="28"/>
                  </a:lnTo>
                  <a:lnTo>
                    <a:pt x="3977" y="21"/>
                  </a:lnTo>
                  <a:lnTo>
                    <a:pt x="3903" y="17"/>
                  </a:lnTo>
                  <a:lnTo>
                    <a:pt x="3830" y="13"/>
                  </a:lnTo>
                  <a:lnTo>
                    <a:pt x="3753" y="10"/>
                  </a:lnTo>
                  <a:lnTo>
                    <a:pt x="3677" y="8"/>
                  </a:lnTo>
                  <a:lnTo>
                    <a:pt x="3519" y="6"/>
                  </a:lnTo>
                  <a:lnTo>
                    <a:pt x="3357" y="6"/>
                  </a:lnTo>
                  <a:lnTo>
                    <a:pt x="3188" y="6"/>
                  </a:lnTo>
                  <a:lnTo>
                    <a:pt x="3014" y="6"/>
                  </a:lnTo>
                  <a:lnTo>
                    <a:pt x="2928" y="6"/>
                  </a:lnTo>
                  <a:lnTo>
                    <a:pt x="2842" y="6"/>
                  </a:lnTo>
                  <a:lnTo>
                    <a:pt x="2755" y="6"/>
                  </a:lnTo>
                  <a:lnTo>
                    <a:pt x="2669" y="6"/>
                  </a:lnTo>
                  <a:lnTo>
                    <a:pt x="2584" y="6"/>
                  </a:lnTo>
                  <a:lnTo>
                    <a:pt x="2498" y="6"/>
                  </a:lnTo>
                  <a:lnTo>
                    <a:pt x="2411" y="6"/>
                  </a:lnTo>
                  <a:lnTo>
                    <a:pt x="2325" y="6"/>
                  </a:lnTo>
                  <a:lnTo>
                    <a:pt x="2203" y="5"/>
                  </a:lnTo>
                  <a:lnTo>
                    <a:pt x="2083" y="2"/>
                  </a:lnTo>
                  <a:lnTo>
                    <a:pt x="2025" y="1"/>
                  </a:lnTo>
                  <a:lnTo>
                    <a:pt x="1967" y="0"/>
                  </a:lnTo>
                  <a:lnTo>
                    <a:pt x="1910" y="0"/>
                  </a:lnTo>
                  <a:lnTo>
                    <a:pt x="1855" y="1"/>
                  </a:lnTo>
                  <a:lnTo>
                    <a:pt x="1802" y="2"/>
                  </a:lnTo>
                  <a:lnTo>
                    <a:pt x="1750" y="5"/>
                  </a:lnTo>
                  <a:lnTo>
                    <a:pt x="1700" y="10"/>
                  </a:lnTo>
                  <a:lnTo>
                    <a:pt x="1651" y="16"/>
                  </a:lnTo>
                  <a:lnTo>
                    <a:pt x="1604" y="26"/>
                  </a:lnTo>
                  <a:lnTo>
                    <a:pt x="1559" y="37"/>
                  </a:lnTo>
                  <a:lnTo>
                    <a:pt x="1516" y="50"/>
                  </a:lnTo>
                  <a:lnTo>
                    <a:pt x="1475" y="67"/>
                  </a:lnTo>
                  <a:lnTo>
                    <a:pt x="1436" y="86"/>
                  </a:lnTo>
                  <a:lnTo>
                    <a:pt x="1400" y="108"/>
                  </a:lnTo>
                  <a:lnTo>
                    <a:pt x="1366" y="135"/>
                  </a:lnTo>
                  <a:lnTo>
                    <a:pt x="1334" y="166"/>
                  </a:lnTo>
                  <a:lnTo>
                    <a:pt x="1306" y="200"/>
                  </a:lnTo>
                  <a:lnTo>
                    <a:pt x="1280" y="238"/>
                  </a:lnTo>
                  <a:lnTo>
                    <a:pt x="1257" y="281"/>
                  </a:lnTo>
                  <a:lnTo>
                    <a:pt x="1237" y="330"/>
                  </a:lnTo>
                  <a:lnTo>
                    <a:pt x="1220" y="382"/>
                  </a:lnTo>
                  <a:lnTo>
                    <a:pt x="1207" y="440"/>
                  </a:lnTo>
                  <a:lnTo>
                    <a:pt x="1195" y="504"/>
                  </a:lnTo>
                  <a:lnTo>
                    <a:pt x="1189" y="573"/>
                  </a:lnTo>
                  <a:lnTo>
                    <a:pt x="1185" y="649"/>
                  </a:lnTo>
                  <a:lnTo>
                    <a:pt x="1185" y="730"/>
                  </a:lnTo>
                  <a:lnTo>
                    <a:pt x="1189" y="819"/>
                  </a:lnTo>
                  <a:lnTo>
                    <a:pt x="1196" y="913"/>
                  </a:lnTo>
                  <a:lnTo>
                    <a:pt x="1248" y="916"/>
                  </a:lnTo>
                  <a:lnTo>
                    <a:pt x="1319" y="919"/>
                  </a:lnTo>
                  <a:lnTo>
                    <a:pt x="1406" y="920"/>
                  </a:lnTo>
                  <a:lnTo>
                    <a:pt x="1506" y="921"/>
                  </a:lnTo>
                  <a:lnTo>
                    <a:pt x="1617" y="922"/>
                  </a:lnTo>
                  <a:lnTo>
                    <a:pt x="1738" y="922"/>
                  </a:lnTo>
                  <a:lnTo>
                    <a:pt x="1864" y="922"/>
                  </a:lnTo>
                  <a:lnTo>
                    <a:pt x="1994" y="922"/>
                  </a:lnTo>
                  <a:lnTo>
                    <a:pt x="2126" y="921"/>
                  </a:lnTo>
                  <a:lnTo>
                    <a:pt x="2256" y="920"/>
                  </a:lnTo>
                  <a:lnTo>
                    <a:pt x="2381" y="919"/>
                  </a:lnTo>
                  <a:lnTo>
                    <a:pt x="2501" y="918"/>
                  </a:lnTo>
                  <a:lnTo>
                    <a:pt x="2612" y="917"/>
                  </a:lnTo>
                  <a:lnTo>
                    <a:pt x="2711" y="917"/>
                  </a:lnTo>
                  <a:lnTo>
                    <a:pt x="2796" y="916"/>
                  </a:lnTo>
                  <a:lnTo>
                    <a:pt x="2866" y="916"/>
                  </a:lnTo>
                  <a:lnTo>
                    <a:pt x="2966" y="915"/>
                  </a:lnTo>
                  <a:lnTo>
                    <a:pt x="3068" y="912"/>
                  </a:lnTo>
                  <a:lnTo>
                    <a:pt x="3169" y="908"/>
                  </a:lnTo>
                  <a:lnTo>
                    <a:pt x="3271" y="905"/>
                  </a:lnTo>
                  <a:lnTo>
                    <a:pt x="3321" y="905"/>
                  </a:lnTo>
                  <a:lnTo>
                    <a:pt x="3370" y="904"/>
                  </a:lnTo>
                  <a:lnTo>
                    <a:pt x="3419" y="904"/>
                  </a:lnTo>
                  <a:lnTo>
                    <a:pt x="3467" y="906"/>
                  </a:lnTo>
                  <a:lnTo>
                    <a:pt x="3515" y="908"/>
                  </a:lnTo>
                  <a:lnTo>
                    <a:pt x="3562" y="911"/>
                  </a:lnTo>
                  <a:lnTo>
                    <a:pt x="3607" y="915"/>
                  </a:lnTo>
                  <a:lnTo>
                    <a:pt x="3652" y="921"/>
                  </a:lnTo>
                  <a:lnTo>
                    <a:pt x="3695" y="928"/>
                  </a:lnTo>
                  <a:lnTo>
                    <a:pt x="3737" y="938"/>
                  </a:lnTo>
                  <a:lnTo>
                    <a:pt x="3778" y="949"/>
                  </a:lnTo>
                  <a:lnTo>
                    <a:pt x="3817" y="962"/>
                  </a:lnTo>
                  <a:lnTo>
                    <a:pt x="3853" y="976"/>
                  </a:lnTo>
                  <a:lnTo>
                    <a:pt x="3889" y="994"/>
                  </a:lnTo>
                  <a:lnTo>
                    <a:pt x="3923" y="1013"/>
                  </a:lnTo>
                  <a:lnTo>
                    <a:pt x="3955" y="1036"/>
                  </a:lnTo>
                  <a:lnTo>
                    <a:pt x="3984" y="1060"/>
                  </a:lnTo>
                  <a:lnTo>
                    <a:pt x="4012" y="1088"/>
                  </a:lnTo>
                  <a:lnTo>
                    <a:pt x="4036" y="1119"/>
                  </a:lnTo>
                  <a:lnTo>
                    <a:pt x="4060" y="1152"/>
                  </a:lnTo>
                  <a:lnTo>
                    <a:pt x="4079" y="1189"/>
                  </a:lnTo>
                  <a:lnTo>
                    <a:pt x="4098" y="1230"/>
                  </a:lnTo>
                  <a:lnTo>
                    <a:pt x="4112" y="1274"/>
                  </a:lnTo>
                  <a:lnTo>
                    <a:pt x="4124" y="1321"/>
                  </a:lnTo>
                  <a:lnTo>
                    <a:pt x="4128" y="1346"/>
                  </a:lnTo>
                  <a:lnTo>
                    <a:pt x="4132" y="1381"/>
                  </a:lnTo>
                  <a:lnTo>
                    <a:pt x="4135" y="1424"/>
                  </a:lnTo>
                  <a:lnTo>
                    <a:pt x="4138" y="1474"/>
                  </a:lnTo>
                  <a:lnTo>
                    <a:pt x="4141" y="1532"/>
                  </a:lnTo>
                  <a:lnTo>
                    <a:pt x="4144" y="1598"/>
                  </a:lnTo>
                  <a:lnTo>
                    <a:pt x="4146" y="1669"/>
                  </a:lnTo>
                  <a:lnTo>
                    <a:pt x="4147" y="1746"/>
                  </a:lnTo>
                  <a:lnTo>
                    <a:pt x="4150" y="1916"/>
                  </a:lnTo>
                  <a:lnTo>
                    <a:pt x="4152" y="2100"/>
                  </a:lnTo>
                  <a:lnTo>
                    <a:pt x="4152" y="2297"/>
                  </a:lnTo>
                  <a:lnTo>
                    <a:pt x="4153" y="2499"/>
                  </a:lnTo>
                  <a:lnTo>
                    <a:pt x="4152" y="2704"/>
                  </a:lnTo>
                  <a:lnTo>
                    <a:pt x="4151" y="2906"/>
                  </a:lnTo>
                  <a:lnTo>
                    <a:pt x="4150" y="3100"/>
                  </a:lnTo>
                  <a:lnTo>
                    <a:pt x="4149" y="3282"/>
                  </a:lnTo>
                  <a:lnTo>
                    <a:pt x="4148" y="3448"/>
                  </a:lnTo>
                  <a:lnTo>
                    <a:pt x="4147" y="3592"/>
                  </a:lnTo>
                  <a:lnTo>
                    <a:pt x="4147" y="3711"/>
                  </a:lnTo>
                  <a:lnTo>
                    <a:pt x="4146" y="3798"/>
                  </a:lnTo>
                  <a:lnTo>
                    <a:pt x="4146" y="3846"/>
                  </a:lnTo>
                  <a:lnTo>
                    <a:pt x="4146" y="3893"/>
                  </a:lnTo>
                  <a:lnTo>
                    <a:pt x="4145" y="3940"/>
                  </a:lnTo>
                  <a:lnTo>
                    <a:pt x="4143" y="3985"/>
                  </a:lnTo>
                  <a:lnTo>
                    <a:pt x="4139" y="4030"/>
                  </a:lnTo>
                  <a:lnTo>
                    <a:pt x="4135" y="4073"/>
                  </a:lnTo>
                  <a:lnTo>
                    <a:pt x="4132" y="4095"/>
                  </a:lnTo>
                  <a:lnTo>
                    <a:pt x="4129" y="4116"/>
                  </a:lnTo>
                  <a:lnTo>
                    <a:pt x="4125" y="4137"/>
                  </a:lnTo>
                  <a:lnTo>
                    <a:pt x="4121" y="4157"/>
                  </a:lnTo>
                  <a:lnTo>
                    <a:pt x="4116" y="4177"/>
                  </a:lnTo>
                  <a:lnTo>
                    <a:pt x="4111" y="4197"/>
                  </a:lnTo>
                  <a:lnTo>
                    <a:pt x="4105" y="4217"/>
                  </a:lnTo>
                  <a:lnTo>
                    <a:pt x="4099" y="4235"/>
                  </a:lnTo>
                  <a:lnTo>
                    <a:pt x="4091" y="4254"/>
                  </a:lnTo>
                  <a:lnTo>
                    <a:pt x="4083" y="4272"/>
                  </a:lnTo>
                  <a:lnTo>
                    <a:pt x="4074" y="4290"/>
                  </a:lnTo>
                  <a:lnTo>
                    <a:pt x="4065" y="4308"/>
                  </a:lnTo>
                  <a:lnTo>
                    <a:pt x="4055" y="4325"/>
                  </a:lnTo>
                  <a:lnTo>
                    <a:pt x="4043" y="4342"/>
                  </a:lnTo>
                  <a:lnTo>
                    <a:pt x="4031" y="4358"/>
                  </a:lnTo>
                  <a:lnTo>
                    <a:pt x="4018" y="4373"/>
                  </a:lnTo>
                  <a:lnTo>
                    <a:pt x="4005" y="4389"/>
                  </a:lnTo>
                  <a:lnTo>
                    <a:pt x="3989" y="4404"/>
                  </a:lnTo>
                  <a:lnTo>
                    <a:pt x="3974" y="4418"/>
                  </a:lnTo>
                  <a:lnTo>
                    <a:pt x="3957" y="4432"/>
                  </a:lnTo>
                  <a:lnTo>
                    <a:pt x="3940" y="4444"/>
                  </a:lnTo>
                  <a:lnTo>
                    <a:pt x="3923" y="4456"/>
                  </a:lnTo>
                  <a:lnTo>
                    <a:pt x="3906" y="4466"/>
                  </a:lnTo>
                  <a:lnTo>
                    <a:pt x="3887" y="4477"/>
                  </a:lnTo>
                  <a:lnTo>
                    <a:pt x="3868" y="4485"/>
                  </a:lnTo>
                  <a:lnTo>
                    <a:pt x="3848" y="4493"/>
                  </a:lnTo>
                  <a:lnTo>
                    <a:pt x="3828" y="4501"/>
                  </a:lnTo>
                  <a:lnTo>
                    <a:pt x="3807" y="4507"/>
                  </a:lnTo>
                  <a:lnTo>
                    <a:pt x="3787" y="4515"/>
                  </a:lnTo>
                  <a:lnTo>
                    <a:pt x="3766" y="4520"/>
                  </a:lnTo>
                  <a:lnTo>
                    <a:pt x="3744" y="4525"/>
                  </a:lnTo>
                  <a:lnTo>
                    <a:pt x="3722" y="4529"/>
                  </a:lnTo>
                  <a:lnTo>
                    <a:pt x="3677" y="4536"/>
                  </a:lnTo>
                  <a:lnTo>
                    <a:pt x="3630" y="4542"/>
                  </a:lnTo>
                  <a:lnTo>
                    <a:pt x="3583" y="4545"/>
                  </a:lnTo>
                  <a:lnTo>
                    <a:pt x="3535" y="4548"/>
                  </a:lnTo>
                  <a:lnTo>
                    <a:pt x="3486" y="4549"/>
                  </a:lnTo>
                  <a:lnTo>
                    <a:pt x="3438" y="4550"/>
                  </a:lnTo>
                  <a:lnTo>
                    <a:pt x="3389" y="4550"/>
                  </a:lnTo>
                  <a:lnTo>
                    <a:pt x="3340" y="4549"/>
                  </a:lnTo>
                  <a:lnTo>
                    <a:pt x="3291" y="4549"/>
                  </a:lnTo>
                  <a:lnTo>
                    <a:pt x="3244" y="4549"/>
                  </a:lnTo>
                  <a:lnTo>
                    <a:pt x="3191" y="4549"/>
                  </a:lnTo>
                  <a:lnTo>
                    <a:pt x="3140" y="4549"/>
                  </a:lnTo>
                  <a:lnTo>
                    <a:pt x="3089" y="4549"/>
                  </a:lnTo>
                  <a:lnTo>
                    <a:pt x="3037" y="4549"/>
                  </a:lnTo>
                  <a:lnTo>
                    <a:pt x="2986" y="4549"/>
                  </a:lnTo>
                  <a:lnTo>
                    <a:pt x="2934" y="4549"/>
                  </a:lnTo>
                  <a:lnTo>
                    <a:pt x="2883" y="4549"/>
                  </a:lnTo>
                  <a:lnTo>
                    <a:pt x="2832" y="4549"/>
                  </a:lnTo>
                  <a:lnTo>
                    <a:pt x="2780" y="4549"/>
                  </a:lnTo>
                  <a:lnTo>
                    <a:pt x="2729" y="4549"/>
                  </a:lnTo>
                  <a:lnTo>
                    <a:pt x="2677" y="4549"/>
                  </a:lnTo>
                  <a:lnTo>
                    <a:pt x="2625" y="4549"/>
                  </a:lnTo>
                  <a:lnTo>
                    <a:pt x="2574" y="4549"/>
                  </a:lnTo>
                  <a:lnTo>
                    <a:pt x="2522" y="4549"/>
                  </a:lnTo>
                  <a:lnTo>
                    <a:pt x="2471" y="4549"/>
                  </a:lnTo>
                  <a:lnTo>
                    <a:pt x="2420" y="4549"/>
                  </a:lnTo>
                  <a:lnTo>
                    <a:pt x="2369" y="4549"/>
                  </a:lnTo>
                  <a:lnTo>
                    <a:pt x="2320" y="4548"/>
                  </a:lnTo>
                  <a:lnTo>
                    <a:pt x="2271" y="4547"/>
                  </a:lnTo>
                  <a:lnTo>
                    <a:pt x="2224" y="4544"/>
                  </a:lnTo>
                  <a:lnTo>
                    <a:pt x="2178" y="4540"/>
                  </a:lnTo>
                  <a:lnTo>
                    <a:pt x="2134" y="4534"/>
                  </a:lnTo>
                  <a:lnTo>
                    <a:pt x="2113" y="4531"/>
                  </a:lnTo>
                  <a:lnTo>
                    <a:pt x="2092" y="4527"/>
                  </a:lnTo>
                  <a:lnTo>
                    <a:pt x="2072" y="4522"/>
                  </a:lnTo>
                  <a:lnTo>
                    <a:pt x="2052" y="4517"/>
                  </a:lnTo>
                  <a:lnTo>
                    <a:pt x="2033" y="4510"/>
                  </a:lnTo>
                  <a:lnTo>
                    <a:pt x="2014" y="4503"/>
                  </a:lnTo>
                  <a:lnTo>
                    <a:pt x="1996" y="4496"/>
                  </a:lnTo>
                  <a:lnTo>
                    <a:pt x="1979" y="4487"/>
                  </a:lnTo>
                  <a:lnTo>
                    <a:pt x="1961" y="4478"/>
                  </a:lnTo>
                  <a:lnTo>
                    <a:pt x="1946" y="4467"/>
                  </a:lnTo>
                  <a:lnTo>
                    <a:pt x="1931" y="4457"/>
                  </a:lnTo>
                  <a:lnTo>
                    <a:pt x="1916" y="4445"/>
                  </a:lnTo>
                  <a:lnTo>
                    <a:pt x="1902" y="4432"/>
                  </a:lnTo>
                  <a:lnTo>
                    <a:pt x="1889" y="4418"/>
                  </a:lnTo>
                  <a:lnTo>
                    <a:pt x="1877" y="4403"/>
                  </a:lnTo>
                  <a:lnTo>
                    <a:pt x="1865" y="4387"/>
                  </a:lnTo>
                  <a:lnTo>
                    <a:pt x="1854" y="4369"/>
                  </a:lnTo>
                  <a:lnTo>
                    <a:pt x="1845" y="4351"/>
                  </a:lnTo>
                  <a:lnTo>
                    <a:pt x="1836" y="4331"/>
                  </a:lnTo>
                  <a:lnTo>
                    <a:pt x="1828" y="4310"/>
                  </a:lnTo>
                  <a:lnTo>
                    <a:pt x="1822" y="4288"/>
                  </a:lnTo>
                  <a:lnTo>
                    <a:pt x="1816" y="4267"/>
                  </a:lnTo>
                  <a:lnTo>
                    <a:pt x="1812" y="4245"/>
                  </a:lnTo>
                  <a:lnTo>
                    <a:pt x="1810" y="4225"/>
                  </a:lnTo>
                  <a:lnTo>
                    <a:pt x="1809" y="4203"/>
                  </a:lnTo>
                  <a:lnTo>
                    <a:pt x="1809" y="4182"/>
                  </a:lnTo>
                  <a:lnTo>
                    <a:pt x="1811" y="4161"/>
                  </a:lnTo>
                  <a:lnTo>
                    <a:pt x="1814" y="4140"/>
                  </a:lnTo>
                  <a:lnTo>
                    <a:pt x="1817" y="4119"/>
                  </a:lnTo>
                  <a:lnTo>
                    <a:pt x="1823" y="4099"/>
                  </a:lnTo>
                  <a:lnTo>
                    <a:pt x="1829" y="4079"/>
                  </a:lnTo>
                  <a:lnTo>
                    <a:pt x="1835" y="4058"/>
                  </a:lnTo>
                  <a:lnTo>
                    <a:pt x="1842" y="4039"/>
                  </a:lnTo>
                  <a:lnTo>
                    <a:pt x="1850" y="4019"/>
                  </a:lnTo>
                  <a:lnTo>
                    <a:pt x="1859" y="4000"/>
                  </a:lnTo>
                  <a:lnTo>
                    <a:pt x="1869" y="3980"/>
                  </a:lnTo>
                  <a:lnTo>
                    <a:pt x="1889" y="3943"/>
                  </a:lnTo>
                  <a:lnTo>
                    <a:pt x="1910" y="3908"/>
                  </a:lnTo>
                  <a:lnTo>
                    <a:pt x="1933" y="3874"/>
                  </a:lnTo>
                  <a:lnTo>
                    <a:pt x="1956" y="3841"/>
                  </a:lnTo>
                  <a:lnTo>
                    <a:pt x="2001" y="3781"/>
                  </a:lnTo>
                  <a:lnTo>
                    <a:pt x="2041" y="3730"/>
                  </a:lnTo>
                  <a:lnTo>
                    <a:pt x="3111" y="2301"/>
                  </a:lnTo>
                  <a:lnTo>
                    <a:pt x="3134" y="2270"/>
                  </a:lnTo>
                  <a:lnTo>
                    <a:pt x="3158" y="2239"/>
                  </a:lnTo>
                  <a:lnTo>
                    <a:pt x="3180" y="2210"/>
                  </a:lnTo>
                  <a:lnTo>
                    <a:pt x="3203" y="2180"/>
                  </a:lnTo>
                  <a:lnTo>
                    <a:pt x="3225" y="2150"/>
                  </a:lnTo>
                  <a:lnTo>
                    <a:pt x="3248" y="2121"/>
                  </a:lnTo>
                  <a:lnTo>
                    <a:pt x="3269" y="2091"/>
                  </a:lnTo>
                  <a:lnTo>
                    <a:pt x="3291" y="2061"/>
                  </a:lnTo>
                  <a:lnTo>
                    <a:pt x="3312" y="2033"/>
                  </a:lnTo>
                  <a:lnTo>
                    <a:pt x="3334" y="2004"/>
                  </a:lnTo>
                  <a:lnTo>
                    <a:pt x="3358" y="1974"/>
                  </a:lnTo>
                  <a:lnTo>
                    <a:pt x="3382" y="1944"/>
                  </a:lnTo>
                  <a:lnTo>
                    <a:pt x="3405" y="1913"/>
                  </a:lnTo>
                  <a:lnTo>
                    <a:pt x="3426" y="1883"/>
                  </a:lnTo>
                  <a:lnTo>
                    <a:pt x="3437" y="1868"/>
                  </a:lnTo>
                  <a:lnTo>
                    <a:pt x="3446" y="1852"/>
                  </a:lnTo>
                  <a:lnTo>
                    <a:pt x="3454" y="1838"/>
                  </a:lnTo>
                  <a:lnTo>
                    <a:pt x="3461" y="1823"/>
                  </a:lnTo>
                  <a:lnTo>
                    <a:pt x="1189" y="1825"/>
                  </a:lnTo>
                  <a:lnTo>
                    <a:pt x="308" y="3008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4" name="Freeform 11"/>
            <p:cNvSpPr>
              <a:spLocks/>
            </p:cNvSpPr>
            <p:nvPr userDrawn="1"/>
          </p:nvSpPr>
          <p:spPr bwMode="auto">
            <a:xfrm>
              <a:off x="5121" y="3022"/>
              <a:ext cx="196" cy="156"/>
            </a:xfrm>
            <a:custGeom>
              <a:avLst/>
              <a:gdLst/>
              <a:ahLst/>
              <a:cxnLst>
                <a:cxn ang="0">
                  <a:pos x="2720" y="5463"/>
                </a:cxn>
                <a:cxn ang="0">
                  <a:pos x="3040" y="915"/>
                </a:cxn>
                <a:cxn ang="0">
                  <a:pos x="3460" y="914"/>
                </a:cxn>
                <a:cxn ang="0">
                  <a:pos x="3880" y="916"/>
                </a:cxn>
                <a:cxn ang="0">
                  <a:pos x="4298" y="918"/>
                </a:cxn>
                <a:cxn ang="0">
                  <a:pos x="4646" y="922"/>
                </a:cxn>
                <a:cxn ang="0">
                  <a:pos x="4757" y="935"/>
                </a:cxn>
                <a:cxn ang="0">
                  <a:pos x="4839" y="957"/>
                </a:cxn>
                <a:cxn ang="0">
                  <a:pos x="4912" y="990"/>
                </a:cxn>
                <a:cxn ang="0">
                  <a:pos x="4972" y="1037"/>
                </a:cxn>
                <a:cxn ang="0">
                  <a:pos x="5020" y="1104"/>
                </a:cxn>
                <a:cxn ang="0">
                  <a:pos x="5053" y="1190"/>
                </a:cxn>
                <a:cxn ang="0">
                  <a:pos x="5063" y="1276"/>
                </a:cxn>
                <a:cxn ang="0">
                  <a:pos x="5052" y="1359"/>
                </a:cxn>
                <a:cxn ang="0">
                  <a:pos x="5026" y="1438"/>
                </a:cxn>
                <a:cxn ang="0">
                  <a:pos x="4989" y="1512"/>
                </a:cxn>
                <a:cxn ang="0">
                  <a:pos x="4889" y="1658"/>
                </a:cxn>
                <a:cxn ang="0">
                  <a:pos x="3727" y="3210"/>
                </a:cxn>
                <a:cxn ang="0">
                  <a:pos x="3640" y="3327"/>
                </a:cxn>
                <a:cxn ang="0">
                  <a:pos x="3551" y="3444"/>
                </a:cxn>
                <a:cxn ang="0">
                  <a:pos x="3444" y="3588"/>
                </a:cxn>
                <a:cxn ang="0">
                  <a:pos x="3412" y="3643"/>
                </a:cxn>
                <a:cxn ang="0">
                  <a:pos x="5684" y="3621"/>
                </a:cxn>
                <a:cxn ang="0">
                  <a:pos x="5828" y="3445"/>
                </a:cxn>
                <a:cxn ang="0">
                  <a:pos x="6062" y="3137"/>
                </a:cxn>
                <a:cxn ang="0">
                  <a:pos x="6267" y="2859"/>
                </a:cxn>
                <a:cxn ang="0">
                  <a:pos x="6360" y="2731"/>
                </a:cxn>
                <a:cxn ang="0">
                  <a:pos x="6443" y="2618"/>
                </a:cxn>
                <a:cxn ang="0">
                  <a:pos x="6540" y="2492"/>
                </a:cxn>
                <a:cxn ang="0">
                  <a:pos x="6676" y="2311"/>
                </a:cxn>
                <a:cxn ang="0">
                  <a:pos x="6754" y="2189"/>
                </a:cxn>
                <a:cxn ang="0">
                  <a:pos x="6806" y="2086"/>
                </a:cxn>
                <a:cxn ang="0">
                  <a:pos x="6843" y="1979"/>
                </a:cxn>
                <a:cxn ang="0">
                  <a:pos x="6864" y="1869"/>
                </a:cxn>
                <a:cxn ang="0">
                  <a:pos x="6863" y="1754"/>
                </a:cxn>
                <a:cxn ang="0">
                  <a:pos x="6837" y="1645"/>
                </a:cxn>
                <a:cxn ang="0">
                  <a:pos x="6784" y="1527"/>
                </a:cxn>
                <a:cxn ang="0">
                  <a:pos x="6710" y="1398"/>
                </a:cxn>
                <a:cxn ang="0">
                  <a:pos x="6547" y="1162"/>
                </a:cxn>
                <a:cxn ang="0">
                  <a:pos x="6357" y="913"/>
                </a:cxn>
                <a:cxn ang="0">
                  <a:pos x="6199" y="705"/>
                </a:cxn>
                <a:cxn ang="0">
                  <a:pos x="6039" y="511"/>
                </a:cxn>
                <a:cxn ang="0">
                  <a:pos x="5940" y="408"/>
                </a:cxn>
                <a:cxn ang="0">
                  <a:pos x="5834" y="314"/>
                </a:cxn>
                <a:cxn ang="0">
                  <a:pos x="5720" y="229"/>
                </a:cxn>
                <a:cxn ang="0">
                  <a:pos x="5596" y="157"/>
                </a:cxn>
                <a:cxn ang="0">
                  <a:pos x="5461" y="100"/>
                </a:cxn>
                <a:cxn ang="0">
                  <a:pos x="5315" y="60"/>
                </a:cxn>
                <a:cxn ang="0">
                  <a:pos x="5147" y="32"/>
                </a:cxn>
                <a:cxn ang="0">
                  <a:pos x="4912" y="11"/>
                </a:cxn>
                <a:cxn ang="0">
                  <a:pos x="4506" y="0"/>
                </a:cxn>
                <a:cxn ang="0">
                  <a:pos x="4105" y="4"/>
                </a:cxn>
                <a:cxn ang="0">
                  <a:pos x="676" y="6"/>
                </a:cxn>
                <a:cxn ang="0">
                  <a:pos x="441" y="24"/>
                </a:cxn>
                <a:cxn ang="0">
                  <a:pos x="268" y="75"/>
                </a:cxn>
                <a:cxn ang="0">
                  <a:pos x="147" y="155"/>
                </a:cxn>
                <a:cxn ang="0">
                  <a:pos x="69" y="263"/>
                </a:cxn>
                <a:cxn ang="0">
                  <a:pos x="25" y="395"/>
                </a:cxn>
                <a:cxn ang="0">
                  <a:pos x="5" y="549"/>
                </a:cxn>
                <a:cxn ang="0">
                  <a:pos x="0" y="723"/>
                </a:cxn>
              </a:cxnLst>
              <a:rect l="0" t="0" r="r" b="b"/>
              <a:pathLst>
                <a:path w="6866" h="5463">
                  <a:moveTo>
                    <a:pt x="0" y="916"/>
                  </a:moveTo>
                  <a:lnTo>
                    <a:pt x="904" y="918"/>
                  </a:lnTo>
                  <a:lnTo>
                    <a:pt x="909" y="5461"/>
                  </a:lnTo>
                  <a:lnTo>
                    <a:pt x="2720" y="5463"/>
                  </a:lnTo>
                  <a:lnTo>
                    <a:pt x="2726" y="919"/>
                  </a:lnTo>
                  <a:lnTo>
                    <a:pt x="2830" y="917"/>
                  </a:lnTo>
                  <a:lnTo>
                    <a:pt x="2935" y="916"/>
                  </a:lnTo>
                  <a:lnTo>
                    <a:pt x="3040" y="915"/>
                  </a:lnTo>
                  <a:lnTo>
                    <a:pt x="3144" y="914"/>
                  </a:lnTo>
                  <a:lnTo>
                    <a:pt x="3250" y="914"/>
                  </a:lnTo>
                  <a:lnTo>
                    <a:pt x="3355" y="914"/>
                  </a:lnTo>
                  <a:lnTo>
                    <a:pt x="3460" y="914"/>
                  </a:lnTo>
                  <a:lnTo>
                    <a:pt x="3565" y="915"/>
                  </a:lnTo>
                  <a:lnTo>
                    <a:pt x="3669" y="915"/>
                  </a:lnTo>
                  <a:lnTo>
                    <a:pt x="3775" y="916"/>
                  </a:lnTo>
                  <a:lnTo>
                    <a:pt x="3880" y="916"/>
                  </a:lnTo>
                  <a:lnTo>
                    <a:pt x="3984" y="917"/>
                  </a:lnTo>
                  <a:lnTo>
                    <a:pt x="4089" y="917"/>
                  </a:lnTo>
                  <a:lnTo>
                    <a:pt x="4194" y="918"/>
                  </a:lnTo>
                  <a:lnTo>
                    <a:pt x="4298" y="918"/>
                  </a:lnTo>
                  <a:lnTo>
                    <a:pt x="4402" y="918"/>
                  </a:lnTo>
                  <a:lnTo>
                    <a:pt x="4501" y="918"/>
                  </a:lnTo>
                  <a:lnTo>
                    <a:pt x="4599" y="920"/>
                  </a:lnTo>
                  <a:lnTo>
                    <a:pt x="4646" y="922"/>
                  </a:lnTo>
                  <a:lnTo>
                    <a:pt x="4692" y="926"/>
                  </a:lnTo>
                  <a:lnTo>
                    <a:pt x="4715" y="929"/>
                  </a:lnTo>
                  <a:lnTo>
                    <a:pt x="4736" y="932"/>
                  </a:lnTo>
                  <a:lnTo>
                    <a:pt x="4757" y="935"/>
                  </a:lnTo>
                  <a:lnTo>
                    <a:pt x="4779" y="940"/>
                  </a:lnTo>
                  <a:lnTo>
                    <a:pt x="4799" y="944"/>
                  </a:lnTo>
                  <a:lnTo>
                    <a:pt x="4820" y="950"/>
                  </a:lnTo>
                  <a:lnTo>
                    <a:pt x="4839" y="957"/>
                  </a:lnTo>
                  <a:lnTo>
                    <a:pt x="4859" y="964"/>
                  </a:lnTo>
                  <a:lnTo>
                    <a:pt x="4877" y="972"/>
                  </a:lnTo>
                  <a:lnTo>
                    <a:pt x="4894" y="980"/>
                  </a:lnTo>
                  <a:lnTo>
                    <a:pt x="4912" y="990"/>
                  </a:lnTo>
                  <a:lnTo>
                    <a:pt x="4928" y="1001"/>
                  </a:lnTo>
                  <a:lnTo>
                    <a:pt x="4943" y="1012"/>
                  </a:lnTo>
                  <a:lnTo>
                    <a:pt x="4959" y="1024"/>
                  </a:lnTo>
                  <a:lnTo>
                    <a:pt x="4972" y="1037"/>
                  </a:lnTo>
                  <a:lnTo>
                    <a:pt x="4985" y="1053"/>
                  </a:lnTo>
                  <a:lnTo>
                    <a:pt x="4997" y="1068"/>
                  </a:lnTo>
                  <a:lnTo>
                    <a:pt x="5010" y="1086"/>
                  </a:lnTo>
                  <a:lnTo>
                    <a:pt x="5020" y="1104"/>
                  </a:lnTo>
                  <a:lnTo>
                    <a:pt x="5030" y="1123"/>
                  </a:lnTo>
                  <a:lnTo>
                    <a:pt x="5039" y="1145"/>
                  </a:lnTo>
                  <a:lnTo>
                    <a:pt x="5047" y="1167"/>
                  </a:lnTo>
                  <a:lnTo>
                    <a:pt x="5053" y="1190"/>
                  </a:lnTo>
                  <a:lnTo>
                    <a:pt x="5058" y="1211"/>
                  </a:lnTo>
                  <a:lnTo>
                    <a:pt x="5061" y="1233"/>
                  </a:lnTo>
                  <a:lnTo>
                    <a:pt x="5062" y="1254"/>
                  </a:lnTo>
                  <a:lnTo>
                    <a:pt x="5063" y="1276"/>
                  </a:lnTo>
                  <a:lnTo>
                    <a:pt x="5062" y="1297"/>
                  </a:lnTo>
                  <a:lnTo>
                    <a:pt x="5060" y="1318"/>
                  </a:lnTo>
                  <a:lnTo>
                    <a:pt x="5056" y="1338"/>
                  </a:lnTo>
                  <a:lnTo>
                    <a:pt x="5052" y="1359"/>
                  </a:lnTo>
                  <a:lnTo>
                    <a:pt x="5047" y="1379"/>
                  </a:lnTo>
                  <a:lnTo>
                    <a:pt x="5040" y="1399"/>
                  </a:lnTo>
                  <a:lnTo>
                    <a:pt x="5033" y="1418"/>
                  </a:lnTo>
                  <a:lnTo>
                    <a:pt x="5026" y="1438"/>
                  </a:lnTo>
                  <a:lnTo>
                    <a:pt x="5018" y="1457"/>
                  </a:lnTo>
                  <a:lnTo>
                    <a:pt x="5009" y="1476"/>
                  </a:lnTo>
                  <a:lnTo>
                    <a:pt x="5000" y="1494"/>
                  </a:lnTo>
                  <a:lnTo>
                    <a:pt x="4989" y="1512"/>
                  </a:lnTo>
                  <a:lnTo>
                    <a:pt x="4979" y="1530"/>
                  </a:lnTo>
                  <a:lnTo>
                    <a:pt x="4957" y="1565"/>
                  </a:lnTo>
                  <a:lnTo>
                    <a:pt x="4934" y="1597"/>
                  </a:lnTo>
                  <a:lnTo>
                    <a:pt x="4889" y="1658"/>
                  </a:lnTo>
                  <a:lnTo>
                    <a:pt x="4848" y="1712"/>
                  </a:lnTo>
                  <a:lnTo>
                    <a:pt x="3773" y="3149"/>
                  </a:lnTo>
                  <a:lnTo>
                    <a:pt x="3749" y="3180"/>
                  </a:lnTo>
                  <a:lnTo>
                    <a:pt x="3727" y="3210"/>
                  </a:lnTo>
                  <a:lnTo>
                    <a:pt x="3705" y="3239"/>
                  </a:lnTo>
                  <a:lnTo>
                    <a:pt x="3684" y="3268"/>
                  </a:lnTo>
                  <a:lnTo>
                    <a:pt x="3662" y="3297"/>
                  </a:lnTo>
                  <a:lnTo>
                    <a:pt x="3640" y="3327"/>
                  </a:lnTo>
                  <a:lnTo>
                    <a:pt x="3617" y="3357"/>
                  </a:lnTo>
                  <a:lnTo>
                    <a:pt x="3594" y="3389"/>
                  </a:lnTo>
                  <a:lnTo>
                    <a:pt x="3575" y="3413"/>
                  </a:lnTo>
                  <a:lnTo>
                    <a:pt x="3551" y="3444"/>
                  </a:lnTo>
                  <a:lnTo>
                    <a:pt x="3524" y="3478"/>
                  </a:lnTo>
                  <a:lnTo>
                    <a:pt x="3496" y="3515"/>
                  </a:lnTo>
                  <a:lnTo>
                    <a:pt x="3468" y="3553"/>
                  </a:lnTo>
                  <a:lnTo>
                    <a:pt x="3444" y="3588"/>
                  </a:lnTo>
                  <a:lnTo>
                    <a:pt x="3433" y="3604"/>
                  </a:lnTo>
                  <a:lnTo>
                    <a:pt x="3424" y="3619"/>
                  </a:lnTo>
                  <a:lnTo>
                    <a:pt x="3417" y="3632"/>
                  </a:lnTo>
                  <a:lnTo>
                    <a:pt x="3412" y="3643"/>
                  </a:lnTo>
                  <a:lnTo>
                    <a:pt x="5657" y="3644"/>
                  </a:lnTo>
                  <a:lnTo>
                    <a:pt x="5664" y="3640"/>
                  </a:lnTo>
                  <a:lnTo>
                    <a:pt x="5672" y="3633"/>
                  </a:lnTo>
                  <a:lnTo>
                    <a:pt x="5684" y="3621"/>
                  </a:lnTo>
                  <a:lnTo>
                    <a:pt x="5698" y="3605"/>
                  </a:lnTo>
                  <a:lnTo>
                    <a:pt x="5734" y="3563"/>
                  </a:lnTo>
                  <a:lnTo>
                    <a:pt x="5778" y="3509"/>
                  </a:lnTo>
                  <a:lnTo>
                    <a:pt x="5828" y="3445"/>
                  </a:lnTo>
                  <a:lnTo>
                    <a:pt x="5883" y="3373"/>
                  </a:lnTo>
                  <a:lnTo>
                    <a:pt x="5942" y="3296"/>
                  </a:lnTo>
                  <a:lnTo>
                    <a:pt x="6002" y="3216"/>
                  </a:lnTo>
                  <a:lnTo>
                    <a:pt x="6062" y="3137"/>
                  </a:lnTo>
                  <a:lnTo>
                    <a:pt x="6120" y="3059"/>
                  </a:lnTo>
                  <a:lnTo>
                    <a:pt x="6174" y="2985"/>
                  </a:lnTo>
                  <a:lnTo>
                    <a:pt x="6224" y="2918"/>
                  </a:lnTo>
                  <a:lnTo>
                    <a:pt x="6267" y="2859"/>
                  </a:lnTo>
                  <a:lnTo>
                    <a:pt x="6302" y="2811"/>
                  </a:lnTo>
                  <a:lnTo>
                    <a:pt x="6327" y="2777"/>
                  </a:lnTo>
                  <a:lnTo>
                    <a:pt x="6340" y="2759"/>
                  </a:lnTo>
                  <a:lnTo>
                    <a:pt x="6360" y="2731"/>
                  </a:lnTo>
                  <a:lnTo>
                    <a:pt x="6380" y="2704"/>
                  </a:lnTo>
                  <a:lnTo>
                    <a:pt x="6401" y="2675"/>
                  </a:lnTo>
                  <a:lnTo>
                    <a:pt x="6422" y="2646"/>
                  </a:lnTo>
                  <a:lnTo>
                    <a:pt x="6443" y="2618"/>
                  </a:lnTo>
                  <a:lnTo>
                    <a:pt x="6464" y="2589"/>
                  </a:lnTo>
                  <a:lnTo>
                    <a:pt x="6485" y="2561"/>
                  </a:lnTo>
                  <a:lnTo>
                    <a:pt x="6506" y="2534"/>
                  </a:lnTo>
                  <a:lnTo>
                    <a:pt x="6540" y="2492"/>
                  </a:lnTo>
                  <a:lnTo>
                    <a:pt x="6574" y="2448"/>
                  </a:lnTo>
                  <a:lnTo>
                    <a:pt x="6608" y="2404"/>
                  </a:lnTo>
                  <a:lnTo>
                    <a:pt x="6642" y="2358"/>
                  </a:lnTo>
                  <a:lnTo>
                    <a:pt x="6676" y="2311"/>
                  </a:lnTo>
                  <a:lnTo>
                    <a:pt x="6709" y="2263"/>
                  </a:lnTo>
                  <a:lnTo>
                    <a:pt x="6724" y="2238"/>
                  </a:lnTo>
                  <a:lnTo>
                    <a:pt x="6739" y="2213"/>
                  </a:lnTo>
                  <a:lnTo>
                    <a:pt x="6754" y="2189"/>
                  </a:lnTo>
                  <a:lnTo>
                    <a:pt x="6768" y="2163"/>
                  </a:lnTo>
                  <a:lnTo>
                    <a:pt x="6781" y="2138"/>
                  </a:lnTo>
                  <a:lnTo>
                    <a:pt x="6793" y="2112"/>
                  </a:lnTo>
                  <a:lnTo>
                    <a:pt x="6806" y="2086"/>
                  </a:lnTo>
                  <a:lnTo>
                    <a:pt x="6817" y="2060"/>
                  </a:lnTo>
                  <a:lnTo>
                    <a:pt x="6826" y="2033"/>
                  </a:lnTo>
                  <a:lnTo>
                    <a:pt x="6835" y="2006"/>
                  </a:lnTo>
                  <a:lnTo>
                    <a:pt x="6843" y="1979"/>
                  </a:lnTo>
                  <a:lnTo>
                    <a:pt x="6851" y="1951"/>
                  </a:lnTo>
                  <a:lnTo>
                    <a:pt x="6857" y="1924"/>
                  </a:lnTo>
                  <a:lnTo>
                    <a:pt x="6861" y="1896"/>
                  </a:lnTo>
                  <a:lnTo>
                    <a:pt x="6864" y="1869"/>
                  </a:lnTo>
                  <a:lnTo>
                    <a:pt x="6866" y="1840"/>
                  </a:lnTo>
                  <a:lnTo>
                    <a:pt x="6866" y="1811"/>
                  </a:lnTo>
                  <a:lnTo>
                    <a:pt x="6865" y="1783"/>
                  </a:lnTo>
                  <a:lnTo>
                    <a:pt x="6863" y="1754"/>
                  </a:lnTo>
                  <a:lnTo>
                    <a:pt x="6859" y="1724"/>
                  </a:lnTo>
                  <a:lnTo>
                    <a:pt x="6854" y="1700"/>
                  </a:lnTo>
                  <a:lnTo>
                    <a:pt x="6847" y="1673"/>
                  </a:lnTo>
                  <a:lnTo>
                    <a:pt x="6837" y="1645"/>
                  </a:lnTo>
                  <a:lnTo>
                    <a:pt x="6826" y="1617"/>
                  </a:lnTo>
                  <a:lnTo>
                    <a:pt x="6814" y="1588"/>
                  </a:lnTo>
                  <a:lnTo>
                    <a:pt x="6800" y="1557"/>
                  </a:lnTo>
                  <a:lnTo>
                    <a:pt x="6784" y="1527"/>
                  </a:lnTo>
                  <a:lnTo>
                    <a:pt x="6767" y="1495"/>
                  </a:lnTo>
                  <a:lnTo>
                    <a:pt x="6748" y="1463"/>
                  </a:lnTo>
                  <a:lnTo>
                    <a:pt x="6730" y="1430"/>
                  </a:lnTo>
                  <a:lnTo>
                    <a:pt x="6710" y="1398"/>
                  </a:lnTo>
                  <a:lnTo>
                    <a:pt x="6688" y="1364"/>
                  </a:lnTo>
                  <a:lnTo>
                    <a:pt x="6643" y="1297"/>
                  </a:lnTo>
                  <a:lnTo>
                    <a:pt x="6596" y="1230"/>
                  </a:lnTo>
                  <a:lnTo>
                    <a:pt x="6547" y="1162"/>
                  </a:lnTo>
                  <a:lnTo>
                    <a:pt x="6498" y="1097"/>
                  </a:lnTo>
                  <a:lnTo>
                    <a:pt x="6450" y="1032"/>
                  </a:lnTo>
                  <a:lnTo>
                    <a:pt x="6402" y="971"/>
                  </a:lnTo>
                  <a:lnTo>
                    <a:pt x="6357" y="913"/>
                  </a:lnTo>
                  <a:lnTo>
                    <a:pt x="6314" y="857"/>
                  </a:lnTo>
                  <a:lnTo>
                    <a:pt x="6275" y="807"/>
                  </a:lnTo>
                  <a:lnTo>
                    <a:pt x="6242" y="762"/>
                  </a:lnTo>
                  <a:lnTo>
                    <a:pt x="6199" y="705"/>
                  </a:lnTo>
                  <a:lnTo>
                    <a:pt x="6155" y="649"/>
                  </a:lnTo>
                  <a:lnTo>
                    <a:pt x="6109" y="592"/>
                  </a:lnTo>
                  <a:lnTo>
                    <a:pt x="6063" y="538"/>
                  </a:lnTo>
                  <a:lnTo>
                    <a:pt x="6039" y="511"/>
                  </a:lnTo>
                  <a:lnTo>
                    <a:pt x="6015" y="485"/>
                  </a:lnTo>
                  <a:lnTo>
                    <a:pt x="5990" y="459"/>
                  </a:lnTo>
                  <a:lnTo>
                    <a:pt x="5966" y="434"/>
                  </a:lnTo>
                  <a:lnTo>
                    <a:pt x="5940" y="408"/>
                  </a:lnTo>
                  <a:lnTo>
                    <a:pt x="5914" y="383"/>
                  </a:lnTo>
                  <a:lnTo>
                    <a:pt x="5888" y="360"/>
                  </a:lnTo>
                  <a:lnTo>
                    <a:pt x="5861" y="336"/>
                  </a:lnTo>
                  <a:lnTo>
                    <a:pt x="5834" y="314"/>
                  </a:lnTo>
                  <a:lnTo>
                    <a:pt x="5807" y="291"/>
                  </a:lnTo>
                  <a:lnTo>
                    <a:pt x="5778" y="270"/>
                  </a:lnTo>
                  <a:lnTo>
                    <a:pt x="5749" y="249"/>
                  </a:lnTo>
                  <a:lnTo>
                    <a:pt x="5720" y="229"/>
                  </a:lnTo>
                  <a:lnTo>
                    <a:pt x="5689" y="211"/>
                  </a:lnTo>
                  <a:lnTo>
                    <a:pt x="5658" y="192"/>
                  </a:lnTo>
                  <a:lnTo>
                    <a:pt x="5628" y="174"/>
                  </a:lnTo>
                  <a:lnTo>
                    <a:pt x="5596" y="157"/>
                  </a:lnTo>
                  <a:lnTo>
                    <a:pt x="5563" y="142"/>
                  </a:lnTo>
                  <a:lnTo>
                    <a:pt x="5530" y="127"/>
                  </a:lnTo>
                  <a:lnTo>
                    <a:pt x="5496" y="113"/>
                  </a:lnTo>
                  <a:lnTo>
                    <a:pt x="5461" y="100"/>
                  </a:lnTo>
                  <a:lnTo>
                    <a:pt x="5427" y="89"/>
                  </a:lnTo>
                  <a:lnTo>
                    <a:pt x="5390" y="78"/>
                  </a:lnTo>
                  <a:lnTo>
                    <a:pt x="5353" y="68"/>
                  </a:lnTo>
                  <a:lnTo>
                    <a:pt x="5315" y="60"/>
                  </a:lnTo>
                  <a:lnTo>
                    <a:pt x="5274" y="52"/>
                  </a:lnTo>
                  <a:lnTo>
                    <a:pt x="5233" y="45"/>
                  </a:lnTo>
                  <a:lnTo>
                    <a:pt x="5191" y="38"/>
                  </a:lnTo>
                  <a:lnTo>
                    <a:pt x="5147" y="32"/>
                  </a:lnTo>
                  <a:lnTo>
                    <a:pt x="5102" y="26"/>
                  </a:lnTo>
                  <a:lnTo>
                    <a:pt x="5055" y="22"/>
                  </a:lnTo>
                  <a:lnTo>
                    <a:pt x="5008" y="18"/>
                  </a:lnTo>
                  <a:lnTo>
                    <a:pt x="4912" y="11"/>
                  </a:lnTo>
                  <a:lnTo>
                    <a:pt x="4813" y="6"/>
                  </a:lnTo>
                  <a:lnTo>
                    <a:pt x="4711" y="3"/>
                  </a:lnTo>
                  <a:lnTo>
                    <a:pt x="4609" y="1"/>
                  </a:lnTo>
                  <a:lnTo>
                    <a:pt x="4506" y="0"/>
                  </a:lnTo>
                  <a:lnTo>
                    <a:pt x="4404" y="1"/>
                  </a:lnTo>
                  <a:lnTo>
                    <a:pt x="4302" y="1"/>
                  </a:lnTo>
                  <a:lnTo>
                    <a:pt x="4203" y="2"/>
                  </a:lnTo>
                  <a:lnTo>
                    <a:pt x="4105" y="4"/>
                  </a:lnTo>
                  <a:lnTo>
                    <a:pt x="4011" y="5"/>
                  </a:lnTo>
                  <a:lnTo>
                    <a:pt x="3921" y="6"/>
                  </a:lnTo>
                  <a:lnTo>
                    <a:pt x="3835" y="6"/>
                  </a:lnTo>
                  <a:lnTo>
                    <a:pt x="676" y="6"/>
                  </a:lnTo>
                  <a:lnTo>
                    <a:pt x="611" y="8"/>
                  </a:lnTo>
                  <a:lnTo>
                    <a:pt x="551" y="11"/>
                  </a:lnTo>
                  <a:lnTo>
                    <a:pt x="493" y="17"/>
                  </a:lnTo>
                  <a:lnTo>
                    <a:pt x="441" y="24"/>
                  </a:lnTo>
                  <a:lnTo>
                    <a:pt x="392" y="34"/>
                  </a:lnTo>
                  <a:lnTo>
                    <a:pt x="347" y="46"/>
                  </a:lnTo>
                  <a:lnTo>
                    <a:pt x="305" y="60"/>
                  </a:lnTo>
                  <a:lnTo>
                    <a:pt x="268" y="75"/>
                  </a:lnTo>
                  <a:lnTo>
                    <a:pt x="233" y="93"/>
                  </a:lnTo>
                  <a:lnTo>
                    <a:pt x="201" y="111"/>
                  </a:lnTo>
                  <a:lnTo>
                    <a:pt x="173" y="133"/>
                  </a:lnTo>
                  <a:lnTo>
                    <a:pt x="147" y="155"/>
                  </a:lnTo>
                  <a:lnTo>
                    <a:pt x="124" y="180"/>
                  </a:lnTo>
                  <a:lnTo>
                    <a:pt x="103" y="205"/>
                  </a:lnTo>
                  <a:lnTo>
                    <a:pt x="85" y="233"/>
                  </a:lnTo>
                  <a:lnTo>
                    <a:pt x="69" y="263"/>
                  </a:lnTo>
                  <a:lnTo>
                    <a:pt x="55" y="293"/>
                  </a:lnTo>
                  <a:lnTo>
                    <a:pt x="43" y="326"/>
                  </a:lnTo>
                  <a:lnTo>
                    <a:pt x="34" y="360"/>
                  </a:lnTo>
                  <a:lnTo>
                    <a:pt x="25" y="395"/>
                  </a:lnTo>
                  <a:lnTo>
                    <a:pt x="18" y="432"/>
                  </a:lnTo>
                  <a:lnTo>
                    <a:pt x="12" y="469"/>
                  </a:lnTo>
                  <a:lnTo>
                    <a:pt x="8" y="508"/>
                  </a:lnTo>
                  <a:lnTo>
                    <a:pt x="5" y="549"/>
                  </a:lnTo>
                  <a:lnTo>
                    <a:pt x="3" y="591"/>
                  </a:lnTo>
                  <a:lnTo>
                    <a:pt x="1" y="634"/>
                  </a:lnTo>
                  <a:lnTo>
                    <a:pt x="0" y="678"/>
                  </a:lnTo>
                  <a:lnTo>
                    <a:pt x="0" y="723"/>
                  </a:lnTo>
                  <a:lnTo>
                    <a:pt x="0" y="817"/>
                  </a:lnTo>
                  <a:lnTo>
                    <a:pt x="0" y="916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5" name="Freeform 12"/>
            <p:cNvSpPr>
              <a:spLocks/>
            </p:cNvSpPr>
            <p:nvPr userDrawn="1"/>
          </p:nvSpPr>
          <p:spPr bwMode="auto">
            <a:xfrm>
              <a:off x="5296" y="3022"/>
              <a:ext cx="143" cy="104"/>
            </a:xfrm>
            <a:custGeom>
              <a:avLst/>
              <a:gdLst/>
              <a:ahLst/>
              <a:cxnLst>
                <a:cxn ang="0">
                  <a:pos x="2992" y="2671"/>
                </a:cxn>
                <a:cxn ang="0">
                  <a:pos x="3075" y="2559"/>
                </a:cxn>
                <a:cxn ang="0">
                  <a:pos x="3160" y="2445"/>
                </a:cxn>
                <a:cxn ang="0">
                  <a:pos x="3245" y="2333"/>
                </a:cxn>
                <a:cxn ang="0">
                  <a:pos x="3329" y="2221"/>
                </a:cxn>
                <a:cxn ang="0">
                  <a:pos x="3414" y="2108"/>
                </a:cxn>
                <a:cxn ang="0">
                  <a:pos x="3498" y="1995"/>
                </a:cxn>
                <a:cxn ang="0">
                  <a:pos x="3583" y="1882"/>
                </a:cxn>
                <a:cxn ang="0">
                  <a:pos x="3669" y="1767"/>
                </a:cxn>
                <a:cxn ang="0">
                  <a:pos x="3754" y="1654"/>
                </a:cxn>
                <a:cxn ang="0">
                  <a:pos x="3839" y="1540"/>
                </a:cxn>
                <a:cxn ang="0">
                  <a:pos x="3924" y="1427"/>
                </a:cxn>
                <a:cxn ang="0">
                  <a:pos x="4009" y="1313"/>
                </a:cxn>
                <a:cxn ang="0">
                  <a:pos x="4094" y="1199"/>
                </a:cxn>
                <a:cxn ang="0">
                  <a:pos x="4180" y="1085"/>
                </a:cxn>
                <a:cxn ang="0">
                  <a:pos x="4265" y="970"/>
                </a:cxn>
                <a:cxn ang="0">
                  <a:pos x="4325" y="891"/>
                </a:cxn>
                <a:cxn ang="0">
                  <a:pos x="4389" y="805"/>
                </a:cxn>
                <a:cxn ang="0">
                  <a:pos x="4484" y="680"/>
                </a:cxn>
                <a:cxn ang="0">
                  <a:pos x="4596" y="530"/>
                </a:cxn>
                <a:cxn ang="0">
                  <a:pos x="4715" y="372"/>
                </a:cxn>
                <a:cxn ang="0">
                  <a:pos x="4824" y="224"/>
                </a:cxn>
                <a:cxn ang="0">
                  <a:pos x="4914" y="101"/>
                </a:cxn>
                <a:cxn ang="0">
                  <a:pos x="4970" y="20"/>
                </a:cxn>
                <a:cxn ang="0">
                  <a:pos x="2737" y="0"/>
                </a:cxn>
                <a:cxn ang="0">
                  <a:pos x="2722" y="11"/>
                </a:cxn>
                <a:cxn ang="0">
                  <a:pos x="2695" y="40"/>
                </a:cxn>
                <a:cxn ang="0">
                  <a:pos x="2615" y="138"/>
                </a:cxn>
                <a:cxn ang="0">
                  <a:pos x="2507" y="276"/>
                </a:cxn>
                <a:cxn ang="0">
                  <a:pos x="2388" y="435"/>
                </a:cxn>
                <a:cxn ang="0">
                  <a:pos x="2268" y="597"/>
                </a:cxn>
                <a:cxn ang="0">
                  <a:pos x="2162" y="740"/>
                </a:cxn>
                <a:cxn ang="0">
                  <a:pos x="2082" y="848"/>
                </a:cxn>
                <a:cxn ang="0">
                  <a:pos x="2043" y="901"/>
                </a:cxn>
                <a:cxn ang="0">
                  <a:pos x="1958" y="1015"/>
                </a:cxn>
                <a:cxn ang="0">
                  <a:pos x="1872" y="1130"/>
                </a:cxn>
                <a:cxn ang="0">
                  <a:pos x="1787" y="1243"/>
                </a:cxn>
                <a:cxn ang="0">
                  <a:pos x="1701" y="1357"/>
                </a:cxn>
                <a:cxn ang="0">
                  <a:pos x="1616" y="1471"/>
                </a:cxn>
                <a:cxn ang="0">
                  <a:pos x="1531" y="1585"/>
                </a:cxn>
                <a:cxn ang="0">
                  <a:pos x="1445" y="1699"/>
                </a:cxn>
                <a:cxn ang="0">
                  <a:pos x="1360" y="1812"/>
                </a:cxn>
                <a:cxn ang="0">
                  <a:pos x="314" y="3209"/>
                </a:cxn>
                <a:cxn ang="0">
                  <a:pos x="271" y="3267"/>
                </a:cxn>
                <a:cxn ang="0">
                  <a:pos x="228" y="3324"/>
                </a:cxn>
                <a:cxn ang="0">
                  <a:pos x="184" y="3382"/>
                </a:cxn>
                <a:cxn ang="0">
                  <a:pos x="145" y="3437"/>
                </a:cxn>
                <a:cxn ang="0">
                  <a:pos x="100" y="3494"/>
                </a:cxn>
                <a:cxn ang="0">
                  <a:pos x="53" y="3555"/>
                </a:cxn>
                <a:cxn ang="0">
                  <a:pos x="22" y="3598"/>
                </a:cxn>
                <a:cxn ang="0">
                  <a:pos x="7" y="3624"/>
                </a:cxn>
                <a:cxn ang="0">
                  <a:pos x="2269" y="3637"/>
                </a:cxn>
              </a:cxnLst>
              <a:rect l="0" t="0" r="r" b="b"/>
              <a:pathLst>
                <a:path w="4982" h="3637">
                  <a:moveTo>
                    <a:pt x="2949" y="2728"/>
                  </a:moveTo>
                  <a:lnTo>
                    <a:pt x="2992" y="2671"/>
                  </a:lnTo>
                  <a:lnTo>
                    <a:pt x="3033" y="2615"/>
                  </a:lnTo>
                  <a:lnTo>
                    <a:pt x="3075" y="2559"/>
                  </a:lnTo>
                  <a:lnTo>
                    <a:pt x="3118" y="2502"/>
                  </a:lnTo>
                  <a:lnTo>
                    <a:pt x="3160" y="2445"/>
                  </a:lnTo>
                  <a:lnTo>
                    <a:pt x="3202" y="2389"/>
                  </a:lnTo>
                  <a:lnTo>
                    <a:pt x="3245" y="2333"/>
                  </a:lnTo>
                  <a:lnTo>
                    <a:pt x="3287" y="2277"/>
                  </a:lnTo>
                  <a:lnTo>
                    <a:pt x="3329" y="2221"/>
                  </a:lnTo>
                  <a:lnTo>
                    <a:pt x="3372" y="2164"/>
                  </a:lnTo>
                  <a:lnTo>
                    <a:pt x="3414" y="2108"/>
                  </a:lnTo>
                  <a:lnTo>
                    <a:pt x="3455" y="2052"/>
                  </a:lnTo>
                  <a:lnTo>
                    <a:pt x="3498" y="1995"/>
                  </a:lnTo>
                  <a:lnTo>
                    <a:pt x="3541" y="1938"/>
                  </a:lnTo>
                  <a:lnTo>
                    <a:pt x="3583" y="1882"/>
                  </a:lnTo>
                  <a:lnTo>
                    <a:pt x="3626" y="1825"/>
                  </a:lnTo>
                  <a:lnTo>
                    <a:pt x="3669" y="1767"/>
                  </a:lnTo>
                  <a:lnTo>
                    <a:pt x="3712" y="1710"/>
                  </a:lnTo>
                  <a:lnTo>
                    <a:pt x="3754" y="1654"/>
                  </a:lnTo>
                  <a:lnTo>
                    <a:pt x="3797" y="1596"/>
                  </a:lnTo>
                  <a:lnTo>
                    <a:pt x="3839" y="1540"/>
                  </a:lnTo>
                  <a:lnTo>
                    <a:pt x="3881" y="1483"/>
                  </a:lnTo>
                  <a:lnTo>
                    <a:pt x="3924" y="1427"/>
                  </a:lnTo>
                  <a:lnTo>
                    <a:pt x="3966" y="1369"/>
                  </a:lnTo>
                  <a:lnTo>
                    <a:pt x="4009" y="1313"/>
                  </a:lnTo>
                  <a:lnTo>
                    <a:pt x="4052" y="1256"/>
                  </a:lnTo>
                  <a:lnTo>
                    <a:pt x="4094" y="1199"/>
                  </a:lnTo>
                  <a:lnTo>
                    <a:pt x="4137" y="1142"/>
                  </a:lnTo>
                  <a:lnTo>
                    <a:pt x="4180" y="1085"/>
                  </a:lnTo>
                  <a:lnTo>
                    <a:pt x="4223" y="1027"/>
                  </a:lnTo>
                  <a:lnTo>
                    <a:pt x="4265" y="970"/>
                  </a:lnTo>
                  <a:lnTo>
                    <a:pt x="4308" y="913"/>
                  </a:lnTo>
                  <a:lnTo>
                    <a:pt x="4325" y="891"/>
                  </a:lnTo>
                  <a:lnTo>
                    <a:pt x="4352" y="854"/>
                  </a:lnTo>
                  <a:lnTo>
                    <a:pt x="4389" y="805"/>
                  </a:lnTo>
                  <a:lnTo>
                    <a:pt x="4434" y="747"/>
                  </a:lnTo>
                  <a:lnTo>
                    <a:pt x="4484" y="680"/>
                  </a:lnTo>
                  <a:lnTo>
                    <a:pt x="4539" y="607"/>
                  </a:lnTo>
                  <a:lnTo>
                    <a:pt x="4596" y="530"/>
                  </a:lnTo>
                  <a:lnTo>
                    <a:pt x="4656" y="451"/>
                  </a:lnTo>
                  <a:lnTo>
                    <a:pt x="4715" y="372"/>
                  </a:lnTo>
                  <a:lnTo>
                    <a:pt x="4771" y="296"/>
                  </a:lnTo>
                  <a:lnTo>
                    <a:pt x="4824" y="224"/>
                  </a:lnTo>
                  <a:lnTo>
                    <a:pt x="4873" y="158"/>
                  </a:lnTo>
                  <a:lnTo>
                    <a:pt x="4914" y="101"/>
                  </a:lnTo>
                  <a:lnTo>
                    <a:pt x="4947" y="54"/>
                  </a:lnTo>
                  <a:lnTo>
                    <a:pt x="4970" y="20"/>
                  </a:lnTo>
                  <a:lnTo>
                    <a:pt x="4982" y="1"/>
                  </a:lnTo>
                  <a:lnTo>
                    <a:pt x="2737" y="0"/>
                  </a:lnTo>
                  <a:lnTo>
                    <a:pt x="2731" y="4"/>
                  </a:lnTo>
                  <a:lnTo>
                    <a:pt x="2722" y="11"/>
                  </a:lnTo>
                  <a:lnTo>
                    <a:pt x="2711" y="23"/>
                  </a:lnTo>
                  <a:lnTo>
                    <a:pt x="2695" y="40"/>
                  </a:lnTo>
                  <a:lnTo>
                    <a:pt x="2660" y="83"/>
                  </a:lnTo>
                  <a:lnTo>
                    <a:pt x="2615" y="138"/>
                  </a:lnTo>
                  <a:lnTo>
                    <a:pt x="2564" y="203"/>
                  </a:lnTo>
                  <a:lnTo>
                    <a:pt x="2507" y="276"/>
                  </a:lnTo>
                  <a:lnTo>
                    <a:pt x="2448" y="354"/>
                  </a:lnTo>
                  <a:lnTo>
                    <a:pt x="2388" y="435"/>
                  </a:lnTo>
                  <a:lnTo>
                    <a:pt x="2327" y="517"/>
                  </a:lnTo>
                  <a:lnTo>
                    <a:pt x="2268" y="597"/>
                  </a:lnTo>
                  <a:lnTo>
                    <a:pt x="2212" y="671"/>
                  </a:lnTo>
                  <a:lnTo>
                    <a:pt x="2162" y="740"/>
                  </a:lnTo>
                  <a:lnTo>
                    <a:pt x="2118" y="800"/>
                  </a:lnTo>
                  <a:lnTo>
                    <a:pt x="2082" y="848"/>
                  </a:lnTo>
                  <a:lnTo>
                    <a:pt x="2057" y="883"/>
                  </a:lnTo>
                  <a:lnTo>
                    <a:pt x="2043" y="901"/>
                  </a:lnTo>
                  <a:lnTo>
                    <a:pt x="2001" y="959"/>
                  </a:lnTo>
                  <a:lnTo>
                    <a:pt x="1958" y="1015"/>
                  </a:lnTo>
                  <a:lnTo>
                    <a:pt x="1915" y="1072"/>
                  </a:lnTo>
                  <a:lnTo>
                    <a:pt x="1872" y="1130"/>
                  </a:lnTo>
                  <a:lnTo>
                    <a:pt x="1829" y="1186"/>
                  </a:lnTo>
                  <a:lnTo>
                    <a:pt x="1787" y="1243"/>
                  </a:lnTo>
                  <a:lnTo>
                    <a:pt x="1744" y="1300"/>
                  </a:lnTo>
                  <a:lnTo>
                    <a:pt x="1701" y="1357"/>
                  </a:lnTo>
                  <a:lnTo>
                    <a:pt x="1658" y="1414"/>
                  </a:lnTo>
                  <a:lnTo>
                    <a:pt x="1616" y="1471"/>
                  </a:lnTo>
                  <a:lnTo>
                    <a:pt x="1573" y="1528"/>
                  </a:lnTo>
                  <a:lnTo>
                    <a:pt x="1531" y="1585"/>
                  </a:lnTo>
                  <a:lnTo>
                    <a:pt x="1488" y="1641"/>
                  </a:lnTo>
                  <a:lnTo>
                    <a:pt x="1445" y="1699"/>
                  </a:lnTo>
                  <a:lnTo>
                    <a:pt x="1402" y="1756"/>
                  </a:lnTo>
                  <a:lnTo>
                    <a:pt x="1360" y="1812"/>
                  </a:lnTo>
                  <a:lnTo>
                    <a:pt x="336" y="3180"/>
                  </a:lnTo>
                  <a:lnTo>
                    <a:pt x="314" y="3209"/>
                  </a:lnTo>
                  <a:lnTo>
                    <a:pt x="293" y="3238"/>
                  </a:lnTo>
                  <a:lnTo>
                    <a:pt x="271" y="3267"/>
                  </a:lnTo>
                  <a:lnTo>
                    <a:pt x="250" y="3295"/>
                  </a:lnTo>
                  <a:lnTo>
                    <a:pt x="228" y="3324"/>
                  </a:lnTo>
                  <a:lnTo>
                    <a:pt x="207" y="3353"/>
                  </a:lnTo>
                  <a:lnTo>
                    <a:pt x="184" y="3382"/>
                  </a:lnTo>
                  <a:lnTo>
                    <a:pt x="163" y="3412"/>
                  </a:lnTo>
                  <a:lnTo>
                    <a:pt x="145" y="3437"/>
                  </a:lnTo>
                  <a:lnTo>
                    <a:pt x="122" y="3463"/>
                  </a:lnTo>
                  <a:lnTo>
                    <a:pt x="100" y="3494"/>
                  </a:lnTo>
                  <a:lnTo>
                    <a:pt x="75" y="3525"/>
                  </a:lnTo>
                  <a:lnTo>
                    <a:pt x="53" y="3555"/>
                  </a:lnTo>
                  <a:lnTo>
                    <a:pt x="31" y="3584"/>
                  </a:lnTo>
                  <a:lnTo>
                    <a:pt x="22" y="3598"/>
                  </a:lnTo>
                  <a:lnTo>
                    <a:pt x="14" y="3612"/>
                  </a:lnTo>
                  <a:lnTo>
                    <a:pt x="7" y="3624"/>
                  </a:lnTo>
                  <a:lnTo>
                    <a:pt x="0" y="3635"/>
                  </a:lnTo>
                  <a:lnTo>
                    <a:pt x="2269" y="3637"/>
                  </a:lnTo>
                  <a:lnTo>
                    <a:pt x="2949" y="2728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0525130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БК 5 феврал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/>
          </a:bodyPr>
          <a:lstStyle>
            <a:lvl1pPr>
              <a:defRPr lang="ru-RU" sz="1800" dirty="0">
                <a:solidFill>
                  <a:schemeClr val="tx2"/>
                </a:solidFill>
              </a:defRPr>
            </a:lvl1pPr>
          </a:lstStyle>
          <a:p>
            <a:pPr marL="0" lvl="0"/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7086600" y="4868863"/>
            <a:ext cx="2057400" cy="274637"/>
          </a:xfrm>
        </p:spPr>
        <p:txBody>
          <a:bodyPr anchor="b"/>
          <a:lstStyle/>
          <a:p>
            <a:fld id="{696B805C-3653-4111-9D74-7F4262724AD8}" type="slidenum">
              <a:rPr lang="ru-RU" smtClean="0">
                <a:solidFill>
                  <a:srgbClr val="E7E6E6">
                    <a:lumMod val="25000"/>
                  </a:srgbClr>
                </a:solidFill>
              </a:rPr>
              <a:pPr/>
              <a:t>‹#›</a:t>
            </a:fld>
            <a:endParaRPr lang="ru-RU">
              <a:solidFill>
                <a:srgbClr val="E7E6E6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980444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467544" y="1203598"/>
            <a:ext cx="8047806" cy="2900412"/>
          </a:xfrm>
        </p:spPr>
        <p:txBody>
          <a:bodyPr>
            <a:normAutofit/>
          </a:bodyPr>
          <a:lstStyle>
            <a:lvl1pPr>
              <a:defRPr sz="480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0" y="699542"/>
            <a:ext cx="8244408" cy="1380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grpSp>
        <p:nvGrpSpPr>
          <p:cNvPr id="2" name="Группа 9"/>
          <p:cNvGrpSpPr/>
          <p:nvPr userDrawn="1"/>
        </p:nvGrpSpPr>
        <p:grpSpPr>
          <a:xfrm>
            <a:off x="0" y="770607"/>
            <a:ext cx="9144000" cy="103833"/>
            <a:chOff x="0" y="4085632"/>
            <a:chExt cx="9144000" cy="103833"/>
          </a:xfrm>
        </p:grpSpPr>
        <p:cxnSp>
          <p:nvCxnSpPr>
            <p:cNvPr id="5" name="Прямая соединительная линия 4"/>
            <p:cNvCxnSpPr/>
            <p:nvPr userDrawn="1"/>
          </p:nvCxnSpPr>
          <p:spPr>
            <a:xfrm>
              <a:off x="0" y="4137548"/>
              <a:ext cx="9144000" cy="0"/>
            </a:xfrm>
            <a:prstGeom prst="line">
              <a:avLst/>
            </a:prstGeom>
            <a:ln w="22225">
              <a:solidFill>
                <a:srgbClr val="ED1B2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" name="Группа 5"/>
            <p:cNvGrpSpPr/>
            <p:nvPr userDrawn="1"/>
          </p:nvGrpSpPr>
          <p:grpSpPr>
            <a:xfrm>
              <a:off x="539552" y="4085632"/>
              <a:ext cx="103833" cy="103833"/>
              <a:chOff x="395536" y="4074729"/>
              <a:chExt cx="125638" cy="125638"/>
            </a:xfrm>
          </p:grpSpPr>
          <p:sp>
            <p:nvSpPr>
              <p:cNvPr id="7" name="Овал 6"/>
              <p:cNvSpPr/>
              <p:nvPr userDrawn="1"/>
            </p:nvSpPr>
            <p:spPr>
              <a:xfrm>
                <a:off x="395536" y="4074729"/>
                <a:ext cx="125638" cy="125638"/>
              </a:xfrm>
              <a:prstGeom prst="ellipse">
                <a:avLst/>
              </a:prstGeom>
              <a:solidFill>
                <a:schemeClr val="bg1"/>
              </a:solidFill>
              <a:ln w="22225">
                <a:solidFill>
                  <a:srgbClr val="ED1B2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8" name="Овал 7"/>
              <p:cNvSpPr/>
              <p:nvPr userDrawn="1"/>
            </p:nvSpPr>
            <p:spPr>
              <a:xfrm>
                <a:off x="440158" y="4119351"/>
                <a:ext cx="36394" cy="36394"/>
              </a:xfrm>
              <a:prstGeom prst="ellipse">
                <a:avLst/>
              </a:prstGeom>
              <a:solidFill>
                <a:schemeClr val="bg1"/>
              </a:solidFill>
              <a:ln w="22225">
                <a:solidFill>
                  <a:srgbClr val="ED1B2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prstClr val="white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371674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195486"/>
            <a:ext cx="8568952" cy="8208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244224" y="1354836"/>
            <a:ext cx="8529889" cy="32956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33210171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ru-RU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ru-RU" smtClean="0">
                <a:solidFill>
                  <a:prstClr val="black"/>
                </a:solidFill>
                <a:cs typeface="Arial" pitchFamily="34" charset="0"/>
              </a:rPr>
              <a:t>| Координационный Совет начальников железных дорог | 05/10/15</a:t>
            </a:r>
            <a:endParaRPr lang="ru-RU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F9E1AED-F888-4CDA-B4A7-D8280D7C1BB3}" type="slidenum">
              <a:rPr lang="ru-RU" smtClean="0">
                <a:solidFill>
                  <a:srgbClr val="E7E6E6">
                    <a:lumMod val="25000"/>
                  </a:srgb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E7E6E6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34217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44224" y="1354836"/>
            <a:ext cx="8529889" cy="32956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230731" y="258893"/>
            <a:ext cx="8543382" cy="767426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557959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 userDrawn="1"/>
        </p:nvSpPr>
        <p:spPr>
          <a:xfrm>
            <a:off x="0" y="699542"/>
            <a:ext cx="8244408" cy="1380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685783"/>
            <a:endParaRPr lang="ru-RU" sz="1400">
              <a:solidFill>
                <a:prstClr val="white"/>
              </a:solidFill>
            </a:endParaRPr>
          </a:p>
        </p:txBody>
      </p:sp>
      <p:grpSp>
        <p:nvGrpSpPr>
          <p:cNvPr id="2" name="Группа 9"/>
          <p:cNvGrpSpPr/>
          <p:nvPr userDrawn="1"/>
        </p:nvGrpSpPr>
        <p:grpSpPr>
          <a:xfrm>
            <a:off x="0" y="627536"/>
            <a:ext cx="9144000" cy="103833"/>
            <a:chOff x="0" y="4085632"/>
            <a:chExt cx="9144000" cy="103833"/>
          </a:xfrm>
        </p:grpSpPr>
        <p:cxnSp>
          <p:nvCxnSpPr>
            <p:cNvPr id="5" name="Прямая соединительная линия 4"/>
            <p:cNvCxnSpPr/>
            <p:nvPr userDrawn="1"/>
          </p:nvCxnSpPr>
          <p:spPr>
            <a:xfrm>
              <a:off x="0" y="4137548"/>
              <a:ext cx="9144000" cy="0"/>
            </a:xfrm>
            <a:prstGeom prst="line">
              <a:avLst/>
            </a:prstGeom>
            <a:ln w="22225">
              <a:solidFill>
                <a:srgbClr val="ED1B2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" name="Группа 5"/>
            <p:cNvGrpSpPr/>
            <p:nvPr userDrawn="1"/>
          </p:nvGrpSpPr>
          <p:grpSpPr>
            <a:xfrm>
              <a:off x="539552" y="4085632"/>
              <a:ext cx="103833" cy="103833"/>
              <a:chOff x="395536" y="4074729"/>
              <a:chExt cx="125638" cy="125638"/>
            </a:xfrm>
          </p:grpSpPr>
          <p:sp>
            <p:nvSpPr>
              <p:cNvPr id="7" name="Овал 6"/>
              <p:cNvSpPr/>
              <p:nvPr userDrawn="1"/>
            </p:nvSpPr>
            <p:spPr>
              <a:xfrm>
                <a:off x="395536" y="4074729"/>
                <a:ext cx="125638" cy="125638"/>
              </a:xfrm>
              <a:prstGeom prst="ellipse">
                <a:avLst/>
              </a:prstGeom>
              <a:solidFill>
                <a:schemeClr val="bg1"/>
              </a:solidFill>
              <a:ln w="22225">
                <a:solidFill>
                  <a:srgbClr val="ED1B2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783"/>
                <a:endParaRPr lang="ru-RU" sz="1400">
                  <a:solidFill>
                    <a:prstClr val="white"/>
                  </a:solidFill>
                </a:endParaRPr>
              </a:p>
            </p:txBody>
          </p:sp>
          <p:sp>
            <p:nvSpPr>
              <p:cNvPr id="8" name="Овал 7"/>
              <p:cNvSpPr/>
              <p:nvPr userDrawn="1"/>
            </p:nvSpPr>
            <p:spPr>
              <a:xfrm>
                <a:off x="440158" y="4119351"/>
                <a:ext cx="36394" cy="36394"/>
              </a:xfrm>
              <a:prstGeom prst="ellipse">
                <a:avLst/>
              </a:prstGeom>
              <a:solidFill>
                <a:schemeClr val="bg1"/>
              </a:solidFill>
              <a:ln w="22225">
                <a:solidFill>
                  <a:srgbClr val="ED1B2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783"/>
                <a:endParaRPr lang="ru-RU" sz="140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13" name="Заголовок 2"/>
          <p:cNvSpPr txBox="1">
            <a:spLocks/>
          </p:cNvSpPr>
          <p:nvPr userDrawn="1"/>
        </p:nvSpPr>
        <p:spPr>
          <a:xfrm>
            <a:off x="251520" y="195488"/>
            <a:ext cx="7939794" cy="494343"/>
          </a:xfrm>
          <a:prstGeom prst="rect">
            <a:avLst/>
          </a:prstGeom>
        </p:spPr>
        <p:txBody>
          <a:bodyPr vert="horz" lIns="91436" tIns="45718" rIns="91436" bIns="45718" rtlCol="0" anchor="ctr">
            <a:noAutofit/>
          </a:bodyPr>
          <a:lstStyle/>
          <a:p>
            <a:pPr defTabSz="914355">
              <a:lnSpc>
                <a:spcPct val="90000"/>
              </a:lnSpc>
              <a:defRPr/>
            </a:pPr>
            <a:endParaRPr lang="ru-RU" sz="2400" b="1" dirty="0" smtClean="0">
              <a:solidFill>
                <a:srgbClr val="1F497D"/>
              </a:solidFill>
              <a:cs typeface="Arial" pitchFamily="34" charset="0"/>
            </a:endParaRPr>
          </a:p>
        </p:txBody>
      </p:sp>
      <p:sp>
        <p:nvSpPr>
          <p:cNvPr id="12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7092280" y="-20538"/>
            <a:ext cx="2057400" cy="274637"/>
          </a:xfrm>
        </p:spPr>
        <p:txBody>
          <a:bodyPr/>
          <a:lstStyle/>
          <a:p>
            <a:fld id="{696B805C-3653-4111-9D74-7F4262724AD8}" type="slidenum">
              <a:rPr lang="ru-RU" smtClean="0">
                <a:solidFill>
                  <a:srgbClr val="E7E6E6">
                    <a:lumMod val="25000"/>
                  </a:srgbClr>
                </a:solidFill>
              </a:rPr>
              <a:pPr/>
              <a:t>‹#›</a:t>
            </a:fld>
            <a:endParaRPr lang="ru-RU">
              <a:solidFill>
                <a:srgbClr val="E7E6E6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751388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195486"/>
            <a:ext cx="8568952" cy="820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244227" y="1354836"/>
            <a:ext cx="8529889" cy="32956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13909474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AutoShape 3"/>
          <p:cNvSpPr>
            <a:spLocks noChangeAspect="1" noChangeArrowheads="1" noTextEdit="1"/>
          </p:cNvSpPr>
          <p:nvPr userDrawn="1"/>
        </p:nvSpPr>
        <p:spPr bwMode="auto">
          <a:xfrm>
            <a:off x="0" y="0"/>
            <a:ext cx="9144000" cy="661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0" name="Freeform 5"/>
          <p:cNvSpPr>
            <a:spLocks/>
          </p:cNvSpPr>
          <p:nvPr userDrawn="1"/>
        </p:nvSpPr>
        <p:spPr bwMode="auto">
          <a:xfrm>
            <a:off x="0" y="15478"/>
            <a:ext cx="9144000" cy="646510"/>
          </a:xfrm>
          <a:custGeom>
            <a:avLst/>
            <a:gdLst>
              <a:gd name="T0" fmla="*/ 0 w 23040"/>
              <a:gd name="T1" fmla="*/ 1625 h 1629"/>
              <a:gd name="T2" fmla="*/ 15620 w 23040"/>
              <a:gd name="T3" fmla="*/ 1629 h 1629"/>
              <a:gd name="T4" fmla="*/ 16478 w 23040"/>
              <a:gd name="T5" fmla="*/ 1629 h 1629"/>
              <a:gd name="T6" fmla="*/ 16534 w 23040"/>
              <a:gd name="T7" fmla="*/ 1629 h 1629"/>
              <a:gd name="T8" fmla="*/ 16584 w 23040"/>
              <a:gd name="T9" fmla="*/ 1628 h 1629"/>
              <a:gd name="T10" fmla="*/ 16632 w 23040"/>
              <a:gd name="T11" fmla="*/ 1625 h 1629"/>
              <a:gd name="T12" fmla="*/ 16675 w 23040"/>
              <a:gd name="T13" fmla="*/ 1619 h 1629"/>
              <a:gd name="T14" fmla="*/ 16697 w 23040"/>
              <a:gd name="T15" fmla="*/ 1615 h 1629"/>
              <a:gd name="T16" fmla="*/ 16717 w 23040"/>
              <a:gd name="T17" fmla="*/ 1612 h 1629"/>
              <a:gd name="T18" fmla="*/ 16737 w 23040"/>
              <a:gd name="T19" fmla="*/ 1607 h 1629"/>
              <a:gd name="T20" fmla="*/ 16757 w 23040"/>
              <a:gd name="T21" fmla="*/ 1603 h 1629"/>
              <a:gd name="T22" fmla="*/ 16776 w 23040"/>
              <a:gd name="T23" fmla="*/ 1596 h 1629"/>
              <a:gd name="T24" fmla="*/ 16795 w 23040"/>
              <a:gd name="T25" fmla="*/ 1590 h 1629"/>
              <a:gd name="T26" fmla="*/ 16813 w 23040"/>
              <a:gd name="T27" fmla="*/ 1583 h 1629"/>
              <a:gd name="T28" fmla="*/ 16831 w 23040"/>
              <a:gd name="T29" fmla="*/ 1574 h 1629"/>
              <a:gd name="T30" fmla="*/ 16849 w 23040"/>
              <a:gd name="T31" fmla="*/ 1566 h 1629"/>
              <a:gd name="T32" fmla="*/ 16867 w 23040"/>
              <a:gd name="T33" fmla="*/ 1557 h 1629"/>
              <a:gd name="T34" fmla="*/ 16885 w 23040"/>
              <a:gd name="T35" fmla="*/ 1547 h 1629"/>
              <a:gd name="T36" fmla="*/ 16903 w 23040"/>
              <a:gd name="T37" fmla="*/ 1535 h 1629"/>
              <a:gd name="T38" fmla="*/ 16920 w 23040"/>
              <a:gd name="T39" fmla="*/ 1524 h 1629"/>
              <a:gd name="T40" fmla="*/ 16939 w 23040"/>
              <a:gd name="T41" fmla="*/ 1511 h 1629"/>
              <a:gd name="T42" fmla="*/ 16956 w 23040"/>
              <a:gd name="T43" fmla="*/ 1496 h 1629"/>
              <a:gd name="T44" fmla="*/ 16975 w 23040"/>
              <a:gd name="T45" fmla="*/ 1482 h 1629"/>
              <a:gd name="T46" fmla="*/ 17012 w 23040"/>
              <a:gd name="T47" fmla="*/ 1448 h 1629"/>
              <a:gd name="T48" fmla="*/ 17050 w 23040"/>
              <a:gd name="T49" fmla="*/ 1410 h 1629"/>
              <a:gd name="T50" fmla="*/ 17091 w 23040"/>
              <a:gd name="T51" fmla="*/ 1368 h 1629"/>
              <a:gd name="T52" fmla="*/ 17135 w 23040"/>
              <a:gd name="T53" fmla="*/ 1321 h 1629"/>
              <a:gd name="T54" fmla="*/ 17885 w 23040"/>
              <a:gd name="T55" fmla="*/ 472 h 1629"/>
              <a:gd name="T56" fmla="*/ 17925 w 23040"/>
              <a:gd name="T57" fmla="*/ 428 h 1629"/>
              <a:gd name="T58" fmla="*/ 17965 w 23040"/>
              <a:gd name="T59" fmla="*/ 387 h 1629"/>
              <a:gd name="T60" fmla="*/ 18004 w 23040"/>
              <a:gd name="T61" fmla="*/ 351 h 1629"/>
              <a:gd name="T62" fmla="*/ 18043 w 23040"/>
              <a:gd name="T63" fmla="*/ 317 h 1629"/>
              <a:gd name="T64" fmla="*/ 18063 w 23040"/>
              <a:gd name="T65" fmla="*/ 302 h 1629"/>
              <a:gd name="T66" fmla="*/ 18084 w 23040"/>
              <a:gd name="T67" fmla="*/ 288 h 1629"/>
              <a:gd name="T68" fmla="*/ 18102 w 23040"/>
              <a:gd name="T69" fmla="*/ 274 h 1629"/>
              <a:gd name="T70" fmla="*/ 18122 w 23040"/>
              <a:gd name="T71" fmla="*/ 262 h 1629"/>
              <a:gd name="T72" fmla="*/ 18143 w 23040"/>
              <a:gd name="T73" fmla="*/ 249 h 1629"/>
              <a:gd name="T74" fmla="*/ 18163 w 23040"/>
              <a:gd name="T75" fmla="*/ 238 h 1629"/>
              <a:gd name="T76" fmla="*/ 18183 w 23040"/>
              <a:gd name="T77" fmla="*/ 227 h 1629"/>
              <a:gd name="T78" fmla="*/ 18203 w 23040"/>
              <a:gd name="T79" fmla="*/ 217 h 1629"/>
              <a:gd name="T80" fmla="*/ 18225 w 23040"/>
              <a:gd name="T81" fmla="*/ 209 h 1629"/>
              <a:gd name="T82" fmla="*/ 18245 w 23040"/>
              <a:gd name="T83" fmla="*/ 200 h 1629"/>
              <a:gd name="T84" fmla="*/ 18266 w 23040"/>
              <a:gd name="T85" fmla="*/ 193 h 1629"/>
              <a:gd name="T86" fmla="*/ 18288 w 23040"/>
              <a:gd name="T87" fmla="*/ 184 h 1629"/>
              <a:gd name="T88" fmla="*/ 18311 w 23040"/>
              <a:gd name="T89" fmla="*/ 179 h 1629"/>
              <a:gd name="T90" fmla="*/ 18333 w 23040"/>
              <a:gd name="T91" fmla="*/ 173 h 1629"/>
              <a:gd name="T92" fmla="*/ 18356 w 23040"/>
              <a:gd name="T93" fmla="*/ 167 h 1629"/>
              <a:gd name="T94" fmla="*/ 18379 w 23040"/>
              <a:gd name="T95" fmla="*/ 163 h 1629"/>
              <a:gd name="T96" fmla="*/ 18426 w 23040"/>
              <a:gd name="T97" fmla="*/ 155 h 1629"/>
              <a:gd name="T98" fmla="*/ 18477 w 23040"/>
              <a:gd name="T99" fmla="*/ 151 h 1629"/>
              <a:gd name="T100" fmla="*/ 18528 w 23040"/>
              <a:gd name="T101" fmla="*/ 147 h 1629"/>
              <a:gd name="T102" fmla="*/ 18583 w 23040"/>
              <a:gd name="T103" fmla="*/ 145 h 1629"/>
              <a:gd name="T104" fmla="*/ 23040 w 23040"/>
              <a:gd name="T105" fmla="*/ 145 h 1629"/>
              <a:gd name="T106" fmla="*/ 23040 w 23040"/>
              <a:gd name="T107" fmla="*/ 0 h 1629"/>
              <a:gd name="T108" fmla="*/ 18585 w 23040"/>
              <a:gd name="T109" fmla="*/ 0 h 1629"/>
              <a:gd name="T110" fmla="*/ 0 w 23040"/>
              <a:gd name="T111" fmla="*/ 0 h 1629"/>
              <a:gd name="T112" fmla="*/ 0 w 23040"/>
              <a:gd name="T113" fmla="*/ 1625 h 16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3040" h="1629">
                <a:moveTo>
                  <a:pt x="0" y="1625"/>
                </a:moveTo>
                <a:lnTo>
                  <a:pt x="15620" y="1629"/>
                </a:lnTo>
                <a:lnTo>
                  <a:pt x="16478" y="1629"/>
                </a:lnTo>
                <a:lnTo>
                  <a:pt x="16534" y="1629"/>
                </a:lnTo>
                <a:lnTo>
                  <a:pt x="16584" y="1628"/>
                </a:lnTo>
                <a:lnTo>
                  <a:pt x="16632" y="1625"/>
                </a:lnTo>
                <a:lnTo>
                  <a:pt x="16675" y="1619"/>
                </a:lnTo>
                <a:lnTo>
                  <a:pt x="16697" y="1615"/>
                </a:lnTo>
                <a:lnTo>
                  <a:pt x="16717" y="1612"/>
                </a:lnTo>
                <a:lnTo>
                  <a:pt x="16737" y="1607"/>
                </a:lnTo>
                <a:lnTo>
                  <a:pt x="16757" y="1603"/>
                </a:lnTo>
                <a:lnTo>
                  <a:pt x="16776" y="1596"/>
                </a:lnTo>
                <a:lnTo>
                  <a:pt x="16795" y="1590"/>
                </a:lnTo>
                <a:lnTo>
                  <a:pt x="16813" y="1583"/>
                </a:lnTo>
                <a:lnTo>
                  <a:pt x="16831" y="1574"/>
                </a:lnTo>
                <a:lnTo>
                  <a:pt x="16849" y="1566"/>
                </a:lnTo>
                <a:lnTo>
                  <a:pt x="16867" y="1557"/>
                </a:lnTo>
                <a:lnTo>
                  <a:pt x="16885" y="1547"/>
                </a:lnTo>
                <a:lnTo>
                  <a:pt x="16903" y="1535"/>
                </a:lnTo>
                <a:lnTo>
                  <a:pt x="16920" y="1524"/>
                </a:lnTo>
                <a:lnTo>
                  <a:pt x="16939" y="1511"/>
                </a:lnTo>
                <a:lnTo>
                  <a:pt x="16956" y="1496"/>
                </a:lnTo>
                <a:lnTo>
                  <a:pt x="16975" y="1482"/>
                </a:lnTo>
                <a:lnTo>
                  <a:pt x="17012" y="1448"/>
                </a:lnTo>
                <a:lnTo>
                  <a:pt x="17050" y="1410"/>
                </a:lnTo>
                <a:lnTo>
                  <a:pt x="17091" y="1368"/>
                </a:lnTo>
                <a:lnTo>
                  <a:pt x="17135" y="1321"/>
                </a:lnTo>
                <a:lnTo>
                  <a:pt x="17885" y="472"/>
                </a:lnTo>
                <a:lnTo>
                  <a:pt x="17925" y="428"/>
                </a:lnTo>
                <a:lnTo>
                  <a:pt x="17965" y="387"/>
                </a:lnTo>
                <a:lnTo>
                  <a:pt x="18004" y="351"/>
                </a:lnTo>
                <a:lnTo>
                  <a:pt x="18043" y="317"/>
                </a:lnTo>
                <a:lnTo>
                  <a:pt x="18063" y="302"/>
                </a:lnTo>
                <a:lnTo>
                  <a:pt x="18084" y="288"/>
                </a:lnTo>
                <a:lnTo>
                  <a:pt x="18102" y="274"/>
                </a:lnTo>
                <a:lnTo>
                  <a:pt x="18122" y="262"/>
                </a:lnTo>
                <a:lnTo>
                  <a:pt x="18143" y="249"/>
                </a:lnTo>
                <a:lnTo>
                  <a:pt x="18163" y="238"/>
                </a:lnTo>
                <a:lnTo>
                  <a:pt x="18183" y="227"/>
                </a:lnTo>
                <a:lnTo>
                  <a:pt x="18203" y="217"/>
                </a:lnTo>
                <a:lnTo>
                  <a:pt x="18225" y="209"/>
                </a:lnTo>
                <a:lnTo>
                  <a:pt x="18245" y="200"/>
                </a:lnTo>
                <a:lnTo>
                  <a:pt x="18266" y="193"/>
                </a:lnTo>
                <a:lnTo>
                  <a:pt x="18288" y="184"/>
                </a:lnTo>
                <a:lnTo>
                  <a:pt x="18311" y="179"/>
                </a:lnTo>
                <a:lnTo>
                  <a:pt x="18333" y="173"/>
                </a:lnTo>
                <a:lnTo>
                  <a:pt x="18356" y="167"/>
                </a:lnTo>
                <a:lnTo>
                  <a:pt x="18379" y="163"/>
                </a:lnTo>
                <a:lnTo>
                  <a:pt x="18426" y="155"/>
                </a:lnTo>
                <a:lnTo>
                  <a:pt x="18477" y="151"/>
                </a:lnTo>
                <a:lnTo>
                  <a:pt x="18528" y="147"/>
                </a:lnTo>
                <a:lnTo>
                  <a:pt x="18583" y="145"/>
                </a:lnTo>
                <a:lnTo>
                  <a:pt x="23040" y="145"/>
                </a:lnTo>
                <a:lnTo>
                  <a:pt x="23040" y="0"/>
                </a:lnTo>
                <a:lnTo>
                  <a:pt x="18585" y="0"/>
                </a:lnTo>
                <a:lnTo>
                  <a:pt x="0" y="0"/>
                </a:lnTo>
                <a:lnTo>
                  <a:pt x="0" y="1625"/>
                </a:lnTo>
                <a:close/>
              </a:path>
            </a:pathLst>
          </a:custGeom>
          <a:solidFill>
            <a:srgbClr val="E21A1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1" name="Freeform 6"/>
          <p:cNvSpPr>
            <a:spLocks/>
          </p:cNvSpPr>
          <p:nvPr userDrawn="1"/>
        </p:nvSpPr>
        <p:spPr bwMode="auto">
          <a:xfrm>
            <a:off x="0" y="0"/>
            <a:ext cx="9144000" cy="646510"/>
          </a:xfrm>
          <a:custGeom>
            <a:avLst/>
            <a:gdLst>
              <a:gd name="T0" fmla="*/ 0 w 23040"/>
              <a:gd name="T1" fmla="*/ 1626 h 1629"/>
              <a:gd name="T2" fmla="*/ 15620 w 23040"/>
              <a:gd name="T3" fmla="*/ 1629 h 1629"/>
              <a:gd name="T4" fmla="*/ 16478 w 23040"/>
              <a:gd name="T5" fmla="*/ 1629 h 1629"/>
              <a:gd name="T6" fmla="*/ 16534 w 23040"/>
              <a:gd name="T7" fmla="*/ 1629 h 1629"/>
              <a:gd name="T8" fmla="*/ 16584 w 23040"/>
              <a:gd name="T9" fmla="*/ 1628 h 1629"/>
              <a:gd name="T10" fmla="*/ 16632 w 23040"/>
              <a:gd name="T11" fmla="*/ 1625 h 1629"/>
              <a:gd name="T12" fmla="*/ 16675 w 23040"/>
              <a:gd name="T13" fmla="*/ 1619 h 1629"/>
              <a:gd name="T14" fmla="*/ 16697 w 23040"/>
              <a:gd name="T15" fmla="*/ 1616 h 1629"/>
              <a:gd name="T16" fmla="*/ 16717 w 23040"/>
              <a:gd name="T17" fmla="*/ 1612 h 1629"/>
              <a:gd name="T18" fmla="*/ 16737 w 23040"/>
              <a:gd name="T19" fmla="*/ 1608 h 1629"/>
              <a:gd name="T20" fmla="*/ 16757 w 23040"/>
              <a:gd name="T21" fmla="*/ 1603 h 1629"/>
              <a:gd name="T22" fmla="*/ 16776 w 23040"/>
              <a:gd name="T23" fmla="*/ 1596 h 1629"/>
              <a:gd name="T24" fmla="*/ 16795 w 23040"/>
              <a:gd name="T25" fmla="*/ 1590 h 1629"/>
              <a:gd name="T26" fmla="*/ 16813 w 23040"/>
              <a:gd name="T27" fmla="*/ 1583 h 1629"/>
              <a:gd name="T28" fmla="*/ 16831 w 23040"/>
              <a:gd name="T29" fmla="*/ 1576 h 1629"/>
              <a:gd name="T30" fmla="*/ 16849 w 23040"/>
              <a:gd name="T31" fmla="*/ 1566 h 1629"/>
              <a:gd name="T32" fmla="*/ 16867 w 23040"/>
              <a:gd name="T33" fmla="*/ 1557 h 1629"/>
              <a:gd name="T34" fmla="*/ 16885 w 23040"/>
              <a:gd name="T35" fmla="*/ 1547 h 1629"/>
              <a:gd name="T36" fmla="*/ 16903 w 23040"/>
              <a:gd name="T37" fmla="*/ 1535 h 1629"/>
              <a:gd name="T38" fmla="*/ 16920 w 23040"/>
              <a:gd name="T39" fmla="*/ 1524 h 1629"/>
              <a:gd name="T40" fmla="*/ 16939 w 23040"/>
              <a:gd name="T41" fmla="*/ 1511 h 1629"/>
              <a:gd name="T42" fmla="*/ 16956 w 23040"/>
              <a:gd name="T43" fmla="*/ 1497 h 1629"/>
              <a:gd name="T44" fmla="*/ 16975 w 23040"/>
              <a:gd name="T45" fmla="*/ 1482 h 1629"/>
              <a:gd name="T46" fmla="*/ 17012 w 23040"/>
              <a:gd name="T47" fmla="*/ 1448 h 1629"/>
              <a:gd name="T48" fmla="*/ 17050 w 23040"/>
              <a:gd name="T49" fmla="*/ 1410 h 1629"/>
              <a:gd name="T50" fmla="*/ 17091 w 23040"/>
              <a:gd name="T51" fmla="*/ 1368 h 1629"/>
              <a:gd name="T52" fmla="*/ 17135 w 23040"/>
              <a:gd name="T53" fmla="*/ 1321 h 1629"/>
              <a:gd name="T54" fmla="*/ 17885 w 23040"/>
              <a:gd name="T55" fmla="*/ 472 h 1629"/>
              <a:gd name="T56" fmla="*/ 17925 w 23040"/>
              <a:gd name="T57" fmla="*/ 428 h 1629"/>
              <a:gd name="T58" fmla="*/ 17965 w 23040"/>
              <a:gd name="T59" fmla="*/ 387 h 1629"/>
              <a:gd name="T60" fmla="*/ 18004 w 23040"/>
              <a:gd name="T61" fmla="*/ 351 h 1629"/>
              <a:gd name="T62" fmla="*/ 18043 w 23040"/>
              <a:gd name="T63" fmla="*/ 317 h 1629"/>
              <a:gd name="T64" fmla="*/ 18063 w 23040"/>
              <a:gd name="T65" fmla="*/ 302 h 1629"/>
              <a:gd name="T66" fmla="*/ 18084 w 23040"/>
              <a:gd name="T67" fmla="*/ 288 h 1629"/>
              <a:gd name="T68" fmla="*/ 18102 w 23040"/>
              <a:gd name="T69" fmla="*/ 275 h 1629"/>
              <a:gd name="T70" fmla="*/ 18122 w 23040"/>
              <a:gd name="T71" fmla="*/ 262 h 1629"/>
              <a:gd name="T72" fmla="*/ 18143 w 23040"/>
              <a:gd name="T73" fmla="*/ 249 h 1629"/>
              <a:gd name="T74" fmla="*/ 18163 w 23040"/>
              <a:gd name="T75" fmla="*/ 238 h 1629"/>
              <a:gd name="T76" fmla="*/ 18183 w 23040"/>
              <a:gd name="T77" fmla="*/ 228 h 1629"/>
              <a:gd name="T78" fmla="*/ 18203 w 23040"/>
              <a:gd name="T79" fmla="*/ 218 h 1629"/>
              <a:gd name="T80" fmla="*/ 18225 w 23040"/>
              <a:gd name="T81" fmla="*/ 209 h 1629"/>
              <a:gd name="T82" fmla="*/ 18245 w 23040"/>
              <a:gd name="T83" fmla="*/ 200 h 1629"/>
              <a:gd name="T84" fmla="*/ 18266 w 23040"/>
              <a:gd name="T85" fmla="*/ 193 h 1629"/>
              <a:gd name="T86" fmla="*/ 18288 w 23040"/>
              <a:gd name="T87" fmla="*/ 186 h 1629"/>
              <a:gd name="T88" fmla="*/ 18311 w 23040"/>
              <a:gd name="T89" fmla="*/ 179 h 1629"/>
              <a:gd name="T90" fmla="*/ 18333 w 23040"/>
              <a:gd name="T91" fmla="*/ 174 h 1629"/>
              <a:gd name="T92" fmla="*/ 18356 w 23040"/>
              <a:gd name="T93" fmla="*/ 167 h 1629"/>
              <a:gd name="T94" fmla="*/ 18379 w 23040"/>
              <a:gd name="T95" fmla="*/ 164 h 1629"/>
              <a:gd name="T96" fmla="*/ 18426 w 23040"/>
              <a:gd name="T97" fmla="*/ 156 h 1629"/>
              <a:gd name="T98" fmla="*/ 18477 w 23040"/>
              <a:gd name="T99" fmla="*/ 151 h 1629"/>
              <a:gd name="T100" fmla="*/ 18528 w 23040"/>
              <a:gd name="T101" fmla="*/ 147 h 1629"/>
              <a:gd name="T102" fmla="*/ 18583 w 23040"/>
              <a:gd name="T103" fmla="*/ 145 h 1629"/>
              <a:gd name="T104" fmla="*/ 23040 w 23040"/>
              <a:gd name="T105" fmla="*/ 145 h 1629"/>
              <a:gd name="T106" fmla="*/ 23040 w 23040"/>
              <a:gd name="T107" fmla="*/ 0 h 1629"/>
              <a:gd name="T108" fmla="*/ 18585 w 23040"/>
              <a:gd name="T109" fmla="*/ 0 h 1629"/>
              <a:gd name="T110" fmla="*/ 0 w 23040"/>
              <a:gd name="T111" fmla="*/ 0 h 1629"/>
              <a:gd name="T112" fmla="*/ 0 w 23040"/>
              <a:gd name="T113" fmla="*/ 1626 h 16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3040" h="1629">
                <a:moveTo>
                  <a:pt x="0" y="1626"/>
                </a:moveTo>
                <a:lnTo>
                  <a:pt x="15620" y="1629"/>
                </a:lnTo>
                <a:lnTo>
                  <a:pt x="16478" y="1629"/>
                </a:lnTo>
                <a:lnTo>
                  <a:pt x="16534" y="1629"/>
                </a:lnTo>
                <a:lnTo>
                  <a:pt x="16584" y="1628"/>
                </a:lnTo>
                <a:lnTo>
                  <a:pt x="16632" y="1625"/>
                </a:lnTo>
                <a:lnTo>
                  <a:pt x="16675" y="1619"/>
                </a:lnTo>
                <a:lnTo>
                  <a:pt x="16697" y="1616"/>
                </a:lnTo>
                <a:lnTo>
                  <a:pt x="16717" y="1612"/>
                </a:lnTo>
                <a:lnTo>
                  <a:pt x="16737" y="1608"/>
                </a:lnTo>
                <a:lnTo>
                  <a:pt x="16757" y="1603"/>
                </a:lnTo>
                <a:lnTo>
                  <a:pt x="16776" y="1596"/>
                </a:lnTo>
                <a:lnTo>
                  <a:pt x="16795" y="1590"/>
                </a:lnTo>
                <a:lnTo>
                  <a:pt x="16813" y="1583"/>
                </a:lnTo>
                <a:lnTo>
                  <a:pt x="16831" y="1576"/>
                </a:lnTo>
                <a:lnTo>
                  <a:pt x="16849" y="1566"/>
                </a:lnTo>
                <a:lnTo>
                  <a:pt x="16867" y="1557"/>
                </a:lnTo>
                <a:lnTo>
                  <a:pt x="16885" y="1547"/>
                </a:lnTo>
                <a:lnTo>
                  <a:pt x="16903" y="1535"/>
                </a:lnTo>
                <a:lnTo>
                  <a:pt x="16920" y="1524"/>
                </a:lnTo>
                <a:lnTo>
                  <a:pt x="16939" y="1511"/>
                </a:lnTo>
                <a:lnTo>
                  <a:pt x="16956" y="1497"/>
                </a:lnTo>
                <a:lnTo>
                  <a:pt x="16975" y="1482"/>
                </a:lnTo>
                <a:lnTo>
                  <a:pt x="17012" y="1448"/>
                </a:lnTo>
                <a:lnTo>
                  <a:pt x="17050" y="1410"/>
                </a:lnTo>
                <a:lnTo>
                  <a:pt x="17091" y="1368"/>
                </a:lnTo>
                <a:lnTo>
                  <a:pt x="17135" y="1321"/>
                </a:lnTo>
                <a:lnTo>
                  <a:pt x="17885" y="472"/>
                </a:lnTo>
                <a:lnTo>
                  <a:pt x="17925" y="428"/>
                </a:lnTo>
                <a:lnTo>
                  <a:pt x="17965" y="387"/>
                </a:lnTo>
                <a:lnTo>
                  <a:pt x="18004" y="351"/>
                </a:lnTo>
                <a:lnTo>
                  <a:pt x="18043" y="317"/>
                </a:lnTo>
                <a:lnTo>
                  <a:pt x="18063" y="302"/>
                </a:lnTo>
                <a:lnTo>
                  <a:pt x="18084" y="288"/>
                </a:lnTo>
                <a:lnTo>
                  <a:pt x="18102" y="275"/>
                </a:lnTo>
                <a:lnTo>
                  <a:pt x="18122" y="262"/>
                </a:lnTo>
                <a:lnTo>
                  <a:pt x="18143" y="249"/>
                </a:lnTo>
                <a:lnTo>
                  <a:pt x="18163" y="238"/>
                </a:lnTo>
                <a:lnTo>
                  <a:pt x="18183" y="228"/>
                </a:lnTo>
                <a:lnTo>
                  <a:pt x="18203" y="218"/>
                </a:lnTo>
                <a:lnTo>
                  <a:pt x="18225" y="209"/>
                </a:lnTo>
                <a:lnTo>
                  <a:pt x="18245" y="200"/>
                </a:lnTo>
                <a:lnTo>
                  <a:pt x="18266" y="193"/>
                </a:lnTo>
                <a:lnTo>
                  <a:pt x="18288" y="186"/>
                </a:lnTo>
                <a:lnTo>
                  <a:pt x="18311" y="179"/>
                </a:lnTo>
                <a:lnTo>
                  <a:pt x="18333" y="174"/>
                </a:lnTo>
                <a:lnTo>
                  <a:pt x="18356" y="167"/>
                </a:lnTo>
                <a:lnTo>
                  <a:pt x="18379" y="164"/>
                </a:lnTo>
                <a:lnTo>
                  <a:pt x="18426" y="156"/>
                </a:lnTo>
                <a:lnTo>
                  <a:pt x="18477" y="151"/>
                </a:lnTo>
                <a:lnTo>
                  <a:pt x="18528" y="147"/>
                </a:lnTo>
                <a:lnTo>
                  <a:pt x="18583" y="145"/>
                </a:lnTo>
                <a:lnTo>
                  <a:pt x="23040" y="145"/>
                </a:lnTo>
                <a:lnTo>
                  <a:pt x="23040" y="0"/>
                </a:lnTo>
                <a:lnTo>
                  <a:pt x="18585" y="0"/>
                </a:lnTo>
                <a:lnTo>
                  <a:pt x="0" y="0"/>
                </a:lnTo>
                <a:lnTo>
                  <a:pt x="0" y="162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2" name="Заголовок 1"/>
          <p:cNvSpPr>
            <a:spLocks noGrp="1"/>
          </p:cNvSpPr>
          <p:nvPr userDrawn="1">
            <p:ph type="title"/>
          </p:nvPr>
        </p:nvSpPr>
        <p:spPr>
          <a:xfrm>
            <a:off x="0" y="0"/>
            <a:ext cx="6804248" cy="62753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1200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grpSp>
        <p:nvGrpSpPr>
          <p:cNvPr id="2" name="Группа 12"/>
          <p:cNvGrpSpPr/>
          <p:nvPr userDrawn="1"/>
        </p:nvGrpSpPr>
        <p:grpSpPr>
          <a:xfrm>
            <a:off x="7860561" y="4729766"/>
            <a:ext cx="1283439" cy="390874"/>
            <a:chOff x="9841289" y="4549776"/>
            <a:chExt cx="1887421" cy="573088"/>
          </a:xfrm>
        </p:grpSpPr>
        <p:sp>
          <p:nvSpPr>
            <p:cNvPr id="14" name="Freeform 83"/>
            <p:cNvSpPr>
              <a:spLocks noEditPoints="1"/>
            </p:cNvSpPr>
            <p:nvPr userDrawn="1"/>
          </p:nvSpPr>
          <p:spPr bwMode="auto">
            <a:xfrm>
              <a:off x="9841289" y="4549776"/>
              <a:ext cx="1887416" cy="573088"/>
            </a:xfrm>
            <a:custGeom>
              <a:avLst/>
              <a:gdLst>
                <a:gd name="T0" fmla="*/ 798 w 2898"/>
                <a:gd name="T1" fmla="*/ 1017 h 1082"/>
                <a:gd name="T2" fmla="*/ 801 w 2898"/>
                <a:gd name="T3" fmla="*/ 1017 h 1082"/>
                <a:gd name="T4" fmla="*/ 805 w 2898"/>
                <a:gd name="T5" fmla="*/ 1017 h 1082"/>
                <a:gd name="T6" fmla="*/ 808 w 2898"/>
                <a:gd name="T7" fmla="*/ 1017 h 1082"/>
                <a:gd name="T8" fmla="*/ 812 w 2898"/>
                <a:gd name="T9" fmla="*/ 1017 h 1082"/>
                <a:gd name="T10" fmla="*/ 815 w 2898"/>
                <a:gd name="T11" fmla="*/ 1017 h 1082"/>
                <a:gd name="T12" fmla="*/ 893 w 2898"/>
                <a:gd name="T13" fmla="*/ 1003 h 1082"/>
                <a:gd name="T14" fmla="*/ 1038 w 2898"/>
                <a:gd name="T15" fmla="*/ 864 h 1082"/>
                <a:gd name="T16" fmla="*/ 1381 w 2898"/>
                <a:gd name="T17" fmla="*/ 412 h 1082"/>
                <a:gd name="T18" fmla="*/ 1612 w 2898"/>
                <a:gd name="T19" fmla="*/ 257 h 1082"/>
                <a:gd name="T20" fmla="*/ 2431 w 2898"/>
                <a:gd name="T21" fmla="*/ 135 h 1082"/>
                <a:gd name="T22" fmla="*/ 2595 w 2898"/>
                <a:gd name="T23" fmla="*/ 40 h 1082"/>
                <a:gd name="T24" fmla="*/ 2802 w 2898"/>
                <a:gd name="T25" fmla="*/ 0 h 1082"/>
                <a:gd name="T26" fmla="*/ 2849 w 2898"/>
                <a:gd name="T27" fmla="*/ 40 h 1082"/>
                <a:gd name="T28" fmla="*/ 2608 w 2898"/>
                <a:gd name="T29" fmla="*/ 138 h 1082"/>
                <a:gd name="T30" fmla="*/ 2898 w 2898"/>
                <a:gd name="T31" fmla="*/ 492 h 1082"/>
                <a:gd name="T32" fmla="*/ 2898 w 2898"/>
                <a:gd name="T33" fmla="*/ 511 h 1082"/>
                <a:gd name="T34" fmla="*/ 2898 w 2898"/>
                <a:gd name="T35" fmla="*/ 530 h 1082"/>
                <a:gd name="T36" fmla="*/ 2898 w 2898"/>
                <a:gd name="T37" fmla="*/ 547 h 1082"/>
                <a:gd name="T38" fmla="*/ 2898 w 2898"/>
                <a:gd name="T39" fmla="*/ 567 h 1082"/>
                <a:gd name="T40" fmla="*/ 2898 w 2898"/>
                <a:gd name="T41" fmla="*/ 587 h 1082"/>
                <a:gd name="T42" fmla="*/ 2898 w 2898"/>
                <a:gd name="T43" fmla="*/ 604 h 1082"/>
                <a:gd name="T44" fmla="*/ 2737 w 2898"/>
                <a:gd name="T45" fmla="*/ 665 h 1082"/>
                <a:gd name="T46" fmla="*/ 2405 w 2898"/>
                <a:gd name="T47" fmla="*/ 674 h 1082"/>
                <a:gd name="T48" fmla="*/ 2279 w 2898"/>
                <a:gd name="T49" fmla="*/ 777 h 1082"/>
                <a:gd name="T50" fmla="*/ 2128 w 2898"/>
                <a:gd name="T51" fmla="*/ 935 h 1082"/>
                <a:gd name="T52" fmla="*/ 2010 w 2898"/>
                <a:gd name="T53" fmla="*/ 950 h 1082"/>
                <a:gd name="T54" fmla="*/ 1778 w 2898"/>
                <a:gd name="T55" fmla="*/ 1049 h 1082"/>
                <a:gd name="T56" fmla="*/ 1541 w 2898"/>
                <a:gd name="T57" fmla="*/ 1081 h 1082"/>
                <a:gd name="T58" fmla="*/ 1501 w 2898"/>
                <a:gd name="T59" fmla="*/ 1081 h 1082"/>
                <a:gd name="T60" fmla="*/ 1489 w 2898"/>
                <a:gd name="T61" fmla="*/ 1081 h 1082"/>
                <a:gd name="T62" fmla="*/ 1479 w 2898"/>
                <a:gd name="T63" fmla="*/ 1081 h 1082"/>
                <a:gd name="T64" fmla="*/ 1467 w 2898"/>
                <a:gd name="T65" fmla="*/ 1081 h 1082"/>
                <a:gd name="T66" fmla="*/ 1455 w 2898"/>
                <a:gd name="T67" fmla="*/ 1081 h 1082"/>
                <a:gd name="T68" fmla="*/ 1445 w 2898"/>
                <a:gd name="T69" fmla="*/ 1081 h 1082"/>
                <a:gd name="T70" fmla="*/ 1437 w 2898"/>
                <a:gd name="T71" fmla="*/ 1061 h 1082"/>
                <a:gd name="T72" fmla="*/ 1448 w 2898"/>
                <a:gd name="T73" fmla="*/ 1061 h 1082"/>
                <a:gd name="T74" fmla="*/ 1460 w 2898"/>
                <a:gd name="T75" fmla="*/ 1061 h 1082"/>
                <a:gd name="T76" fmla="*/ 1472 w 2898"/>
                <a:gd name="T77" fmla="*/ 1061 h 1082"/>
                <a:gd name="T78" fmla="*/ 1483 w 2898"/>
                <a:gd name="T79" fmla="*/ 1061 h 1082"/>
                <a:gd name="T80" fmla="*/ 1495 w 2898"/>
                <a:gd name="T81" fmla="*/ 1061 h 1082"/>
                <a:gd name="T82" fmla="*/ 1507 w 2898"/>
                <a:gd name="T83" fmla="*/ 1061 h 1082"/>
                <a:gd name="T84" fmla="*/ 1652 w 2898"/>
                <a:gd name="T85" fmla="*/ 1032 h 1082"/>
                <a:gd name="T86" fmla="*/ 1030 w 2898"/>
                <a:gd name="T87" fmla="*/ 950 h 1082"/>
                <a:gd name="T88" fmla="*/ 889 w 2898"/>
                <a:gd name="T89" fmla="*/ 1028 h 1082"/>
                <a:gd name="T90" fmla="*/ 815 w 2898"/>
                <a:gd name="T91" fmla="*/ 1037 h 1082"/>
                <a:gd name="T92" fmla="*/ 812 w 2898"/>
                <a:gd name="T93" fmla="*/ 1037 h 1082"/>
                <a:gd name="T94" fmla="*/ 808 w 2898"/>
                <a:gd name="T95" fmla="*/ 1037 h 1082"/>
                <a:gd name="T96" fmla="*/ 805 w 2898"/>
                <a:gd name="T97" fmla="*/ 1037 h 1082"/>
                <a:gd name="T98" fmla="*/ 801 w 2898"/>
                <a:gd name="T99" fmla="*/ 1037 h 1082"/>
                <a:gd name="T100" fmla="*/ 798 w 2898"/>
                <a:gd name="T101" fmla="*/ 1037 h 1082"/>
                <a:gd name="T102" fmla="*/ 55 w 2898"/>
                <a:gd name="T103" fmla="*/ 1017 h 1082"/>
                <a:gd name="T104" fmla="*/ 2019 w 2898"/>
                <a:gd name="T105" fmla="*/ 929 h 1082"/>
                <a:gd name="T106" fmla="*/ 2133 w 2898"/>
                <a:gd name="T107" fmla="*/ 907 h 1082"/>
                <a:gd name="T108" fmla="*/ 2272 w 2898"/>
                <a:gd name="T109" fmla="*/ 747 h 1082"/>
                <a:gd name="T110" fmla="*/ 1853 w 2898"/>
                <a:gd name="T111" fmla="*/ 873 h 1082"/>
                <a:gd name="T112" fmla="*/ 1421 w 2898"/>
                <a:gd name="T113" fmla="*/ 617 h 1082"/>
                <a:gd name="T114" fmla="*/ 1268 w 2898"/>
                <a:gd name="T115" fmla="*/ 672 h 10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98" h="1082">
                  <a:moveTo>
                    <a:pt x="55" y="1017"/>
                  </a:moveTo>
                  <a:lnTo>
                    <a:pt x="796" y="1017"/>
                  </a:lnTo>
                  <a:lnTo>
                    <a:pt x="796" y="1017"/>
                  </a:lnTo>
                  <a:lnTo>
                    <a:pt x="797" y="1017"/>
                  </a:lnTo>
                  <a:lnTo>
                    <a:pt x="797" y="1017"/>
                  </a:lnTo>
                  <a:lnTo>
                    <a:pt x="797" y="1017"/>
                  </a:lnTo>
                  <a:lnTo>
                    <a:pt x="797" y="1017"/>
                  </a:lnTo>
                  <a:lnTo>
                    <a:pt x="798" y="1017"/>
                  </a:lnTo>
                  <a:lnTo>
                    <a:pt x="798" y="1017"/>
                  </a:lnTo>
                  <a:lnTo>
                    <a:pt x="798" y="1017"/>
                  </a:lnTo>
                  <a:lnTo>
                    <a:pt x="799" y="1017"/>
                  </a:lnTo>
                  <a:lnTo>
                    <a:pt x="799" y="1017"/>
                  </a:lnTo>
                  <a:lnTo>
                    <a:pt x="799" y="1017"/>
                  </a:lnTo>
                  <a:lnTo>
                    <a:pt x="799" y="1017"/>
                  </a:lnTo>
                  <a:lnTo>
                    <a:pt x="800" y="1017"/>
                  </a:lnTo>
                  <a:lnTo>
                    <a:pt x="800" y="1017"/>
                  </a:lnTo>
                  <a:lnTo>
                    <a:pt x="800" y="1017"/>
                  </a:lnTo>
                  <a:lnTo>
                    <a:pt x="801" y="1017"/>
                  </a:lnTo>
                  <a:lnTo>
                    <a:pt x="801" y="1017"/>
                  </a:lnTo>
                  <a:lnTo>
                    <a:pt x="801" y="1017"/>
                  </a:lnTo>
                  <a:lnTo>
                    <a:pt x="801" y="1017"/>
                  </a:lnTo>
                  <a:lnTo>
                    <a:pt x="803" y="1017"/>
                  </a:lnTo>
                  <a:lnTo>
                    <a:pt x="803" y="1017"/>
                  </a:lnTo>
                  <a:lnTo>
                    <a:pt x="803" y="1017"/>
                  </a:lnTo>
                  <a:lnTo>
                    <a:pt x="804" y="1017"/>
                  </a:lnTo>
                  <a:lnTo>
                    <a:pt x="804" y="1017"/>
                  </a:lnTo>
                  <a:lnTo>
                    <a:pt x="804" y="1017"/>
                  </a:lnTo>
                  <a:lnTo>
                    <a:pt x="804" y="1017"/>
                  </a:lnTo>
                  <a:lnTo>
                    <a:pt x="805" y="1017"/>
                  </a:lnTo>
                  <a:lnTo>
                    <a:pt x="805" y="1017"/>
                  </a:lnTo>
                  <a:lnTo>
                    <a:pt x="805" y="1017"/>
                  </a:lnTo>
                  <a:lnTo>
                    <a:pt x="806" y="1017"/>
                  </a:lnTo>
                  <a:lnTo>
                    <a:pt x="806" y="1017"/>
                  </a:lnTo>
                  <a:lnTo>
                    <a:pt x="806" y="1017"/>
                  </a:lnTo>
                  <a:lnTo>
                    <a:pt x="806" y="1017"/>
                  </a:lnTo>
                  <a:lnTo>
                    <a:pt x="807" y="1017"/>
                  </a:lnTo>
                  <a:lnTo>
                    <a:pt x="807" y="1017"/>
                  </a:lnTo>
                  <a:lnTo>
                    <a:pt x="807" y="1017"/>
                  </a:lnTo>
                  <a:lnTo>
                    <a:pt x="808" y="1017"/>
                  </a:lnTo>
                  <a:lnTo>
                    <a:pt x="808" y="1017"/>
                  </a:lnTo>
                  <a:lnTo>
                    <a:pt x="808" y="1017"/>
                  </a:lnTo>
                  <a:lnTo>
                    <a:pt x="810" y="1017"/>
                  </a:lnTo>
                  <a:lnTo>
                    <a:pt x="810" y="1017"/>
                  </a:lnTo>
                  <a:lnTo>
                    <a:pt x="810" y="1017"/>
                  </a:lnTo>
                  <a:lnTo>
                    <a:pt x="810" y="1017"/>
                  </a:lnTo>
                  <a:lnTo>
                    <a:pt x="811" y="1017"/>
                  </a:lnTo>
                  <a:lnTo>
                    <a:pt x="811" y="1017"/>
                  </a:lnTo>
                  <a:lnTo>
                    <a:pt x="811" y="1017"/>
                  </a:lnTo>
                  <a:lnTo>
                    <a:pt x="812" y="1017"/>
                  </a:lnTo>
                  <a:lnTo>
                    <a:pt x="812" y="1017"/>
                  </a:lnTo>
                  <a:lnTo>
                    <a:pt x="812" y="1017"/>
                  </a:lnTo>
                  <a:lnTo>
                    <a:pt x="812" y="1017"/>
                  </a:lnTo>
                  <a:lnTo>
                    <a:pt x="813" y="1017"/>
                  </a:lnTo>
                  <a:lnTo>
                    <a:pt x="813" y="1017"/>
                  </a:lnTo>
                  <a:lnTo>
                    <a:pt x="813" y="1017"/>
                  </a:lnTo>
                  <a:lnTo>
                    <a:pt x="814" y="1017"/>
                  </a:lnTo>
                  <a:lnTo>
                    <a:pt x="814" y="1017"/>
                  </a:lnTo>
                  <a:lnTo>
                    <a:pt x="814" y="1017"/>
                  </a:lnTo>
                  <a:lnTo>
                    <a:pt x="814" y="1017"/>
                  </a:lnTo>
                  <a:lnTo>
                    <a:pt x="815" y="1017"/>
                  </a:lnTo>
                  <a:lnTo>
                    <a:pt x="815" y="1017"/>
                  </a:lnTo>
                  <a:lnTo>
                    <a:pt x="815" y="1017"/>
                  </a:lnTo>
                  <a:lnTo>
                    <a:pt x="817" y="1017"/>
                  </a:lnTo>
                  <a:lnTo>
                    <a:pt x="817" y="1017"/>
                  </a:lnTo>
                  <a:lnTo>
                    <a:pt x="817" y="1017"/>
                  </a:lnTo>
                  <a:lnTo>
                    <a:pt x="817" y="1017"/>
                  </a:lnTo>
                  <a:lnTo>
                    <a:pt x="836" y="1017"/>
                  </a:lnTo>
                  <a:lnTo>
                    <a:pt x="855" y="1014"/>
                  </a:lnTo>
                  <a:lnTo>
                    <a:pt x="874" y="1010"/>
                  </a:lnTo>
                  <a:lnTo>
                    <a:pt x="893" y="1003"/>
                  </a:lnTo>
                  <a:lnTo>
                    <a:pt x="911" y="993"/>
                  </a:lnTo>
                  <a:lnTo>
                    <a:pt x="930" y="981"/>
                  </a:lnTo>
                  <a:lnTo>
                    <a:pt x="949" y="966"/>
                  </a:lnTo>
                  <a:lnTo>
                    <a:pt x="968" y="950"/>
                  </a:lnTo>
                  <a:lnTo>
                    <a:pt x="113" y="950"/>
                  </a:lnTo>
                  <a:lnTo>
                    <a:pt x="131" y="929"/>
                  </a:lnTo>
                  <a:lnTo>
                    <a:pt x="987" y="929"/>
                  </a:lnTo>
                  <a:lnTo>
                    <a:pt x="993" y="923"/>
                  </a:lnTo>
                  <a:lnTo>
                    <a:pt x="998" y="917"/>
                  </a:lnTo>
                  <a:lnTo>
                    <a:pt x="1038" y="864"/>
                  </a:lnTo>
                  <a:lnTo>
                    <a:pt x="1077" y="813"/>
                  </a:lnTo>
                  <a:lnTo>
                    <a:pt x="1117" y="760"/>
                  </a:lnTo>
                  <a:lnTo>
                    <a:pt x="1157" y="708"/>
                  </a:lnTo>
                  <a:lnTo>
                    <a:pt x="1197" y="655"/>
                  </a:lnTo>
                  <a:lnTo>
                    <a:pt x="1238" y="602"/>
                  </a:lnTo>
                  <a:lnTo>
                    <a:pt x="1278" y="549"/>
                  </a:lnTo>
                  <a:lnTo>
                    <a:pt x="1317" y="497"/>
                  </a:lnTo>
                  <a:lnTo>
                    <a:pt x="1338" y="466"/>
                  </a:lnTo>
                  <a:lnTo>
                    <a:pt x="1359" y="438"/>
                  </a:lnTo>
                  <a:lnTo>
                    <a:pt x="1381" y="412"/>
                  </a:lnTo>
                  <a:lnTo>
                    <a:pt x="1402" y="388"/>
                  </a:lnTo>
                  <a:lnTo>
                    <a:pt x="1424" y="366"/>
                  </a:lnTo>
                  <a:lnTo>
                    <a:pt x="1446" y="346"/>
                  </a:lnTo>
                  <a:lnTo>
                    <a:pt x="1469" y="327"/>
                  </a:lnTo>
                  <a:lnTo>
                    <a:pt x="1492" y="311"/>
                  </a:lnTo>
                  <a:lnTo>
                    <a:pt x="1515" y="295"/>
                  </a:lnTo>
                  <a:lnTo>
                    <a:pt x="1538" y="282"/>
                  </a:lnTo>
                  <a:lnTo>
                    <a:pt x="1563" y="272"/>
                  </a:lnTo>
                  <a:lnTo>
                    <a:pt x="1588" y="264"/>
                  </a:lnTo>
                  <a:lnTo>
                    <a:pt x="1612" y="257"/>
                  </a:lnTo>
                  <a:lnTo>
                    <a:pt x="1637" y="252"/>
                  </a:lnTo>
                  <a:lnTo>
                    <a:pt x="1662" y="249"/>
                  </a:lnTo>
                  <a:lnTo>
                    <a:pt x="1688" y="249"/>
                  </a:lnTo>
                  <a:lnTo>
                    <a:pt x="2328" y="249"/>
                  </a:lnTo>
                  <a:lnTo>
                    <a:pt x="2352" y="217"/>
                  </a:lnTo>
                  <a:lnTo>
                    <a:pt x="2377" y="188"/>
                  </a:lnTo>
                  <a:lnTo>
                    <a:pt x="2390" y="174"/>
                  </a:lnTo>
                  <a:lnTo>
                    <a:pt x="2403" y="161"/>
                  </a:lnTo>
                  <a:lnTo>
                    <a:pt x="2417" y="148"/>
                  </a:lnTo>
                  <a:lnTo>
                    <a:pt x="2431" y="135"/>
                  </a:lnTo>
                  <a:lnTo>
                    <a:pt x="2446" y="123"/>
                  </a:lnTo>
                  <a:lnTo>
                    <a:pt x="2462" y="113"/>
                  </a:lnTo>
                  <a:lnTo>
                    <a:pt x="2477" y="101"/>
                  </a:lnTo>
                  <a:lnTo>
                    <a:pt x="2492" y="92"/>
                  </a:lnTo>
                  <a:lnTo>
                    <a:pt x="2508" y="81"/>
                  </a:lnTo>
                  <a:lnTo>
                    <a:pt x="2525" y="72"/>
                  </a:lnTo>
                  <a:lnTo>
                    <a:pt x="2541" y="64"/>
                  </a:lnTo>
                  <a:lnTo>
                    <a:pt x="2559" y="55"/>
                  </a:lnTo>
                  <a:lnTo>
                    <a:pt x="2577" y="47"/>
                  </a:lnTo>
                  <a:lnTo>
                    <a:pt x="2595" y="40"/>
                  </a:lnTo>
                  <a:lnTo>
                    <a:pt x="2614" y="34"/>
                  </a:lnTo>
                  <a:lnTo>
                    <a:pt x="2632" y="28"/>
                  </a:lnTo>
                  <a:lnTo>
                    <a:pt x="2652" y="23"/>
                  </a:lnTo>
                  <a:lnTo>
                    <a:pt x="2672" y="18"/>
                  </a:lnTo>
                  <a:lnTo>
                    <a:pt x="2693" y="13"/>
                  </a:lnTo>
                  <a:lnTo>
                    <a:pt x="2713" y="10"/>
                  </a:lnTo>
                  <a:lnTo>
                    <a:pt x="2735" y="6"/>
                  </a:lnTo>
                  <a:lnTo>
                    <a:pt x="2756" y="4"/>
                  </a:lnTo>
                  <a:lnTo>
                    <a:pt x="2779" y="3"/>
                  </a:lnTo>
                  <a:lnTo>
                    <a:pt x="2802" y="0"/>
                  </a:lnTo>
                  <a:lnTo>
                    <a:pt x="2825" y="0"/>
                  </a:lnTo>
                  <a:lnTo>
                    <a:pt x="2849" y="0"/>
                  </a:lnTo>
                  <a:lnTo>
                    <a:pt x="2873" y="0"/>
                  </a:lnTo>
                  <a:lnTo>
                    <a:pt x="2898" y="1"/>
                  </a:lnTo>
                  <a:lnTo>
                    <a:pt x="2898" y="11"/>
                  </a:lnTo>
                  <a:lnTo>
                    <a:pt x="2898" y="20"/>
                  </a:lnTo>
                  <a:lnTo>
                    <a:pt x="2898" y="30"/>
                  </a:lnTo>
                  <a:lnTo>
                    <a:pt x="2898" y="39"/>
                  </a:lnTo>
                  <a:lnTo>
                    <a:pt x="2873" y="39"/>
                  </a:lnTo>
                  <a:lnTo>
                    <a:pt x="2849" y="40"/>
                  </a:lnTo>
                  <a:lnTo>
                    <a:pt x="2824" y="42"/>
                  </a:lnTo>
                  <a:lnTo>
                    <a:pt x="2800" y="46"/>
                  </a:lnTo>
                  <a:lnTo>
                    <a:pt x="2775" y="52"/>
                  </a:lnTo>
                  <a:lnTo>
                    <a:pt x="2751" y="59"/>
                  </a:lnTo>
                  <a:lnTo>
                    <a:pt x="2727" y="67"/>
                  </a:lnTo>
                  <a:lnTo>
                    <a:pt x="2703" y="78"/>
                  </a:lnTo>
                  <a:lnTo>
                    <a:pt x="2679" y="89"/>
                  </a:lnTo>
                  <a:lnTo>
                    <a:pt x="2655" y="103"/>
                  </a:lnTo>
                  <a:lnTo>
                    <a:pt x="2631" y="120"/>
                  </a:lnTo>
                  <a:lnTo>
                    <a:pt x="2608" y="138"/>
                  </a:lnTo>
                  <a:lnTo>
                    <a:pt x="2584" y="158"/>
                  </a:lnTo>
                  <a:lnTo>
                    <a:pt x="2561" y="181"/>
                  </a:lnTo>
                  <a:lnTo>
                    <a:pt x="2538" y="206"/>
                  </a:lnTo>
                  <a:lnTo>
                    <a:pt x="2514" y="233"/>
                  </a:lnTo>
                  <a:lnTo>
                    <a:pt x="2504" y="249"/>
                  </a:lnTo>
                  <a:lnTo>
                    <a:pt x="2898" y="249"/>
                  </a:lnTo>
                  <a:lnTo>
                    <a:pt x="2898" y="486"/>
                  </a:lnTo>
                  <a:lnTo>
                    <a:pt x="2898" y="489"/>
                  </a:lnTo>
                  <a:lnTo>
                    <a:pt x="2898" y="490"/>
                  </a:lnTo>
                  <a:lnTo>
                    <a:pt x="2898" y="492"/>
                  </a:lnTo>
                  <a:lnTo>
                    <a:pt x="2898" y="494"/>
                  </a:lnTo>
                  <a:lnTo>
                    <a:pt x="2898" y="496"/>
                  </a:lnTo>
                  <a:lnTo>
                    <a:pt x="2898" y="497"/>
                  </a:lnTo>
                  <a:lnTo>
                    <a:pt x="2898" y="500"/>
                  </a:lnTo>
                  <a:lnTo>
                    <a:pt x="2898" y="500"/>
                  </a:lnTo>
                  <a:lnTo>
                    <a:pt x="2898" y="503"/>
                  </a:lnTo>
                  <a:lnTo>
                    <a:pt x="2898" y="506"/>
                  </a:lnTo>
                  <a:lnTo>
                    <a:pt x="2898" y="506"/>
                  </a:lnTo>
                  <a:lnTo>
                    <a:pt x="2898" y="508"/>
                  </a:lnTo>
                  <a:lnTo>
                    <a:pt x="2898" y="511"/>
                  </a:lnTo>
                  <a:lnTo>
                    <a:pt x="2898" y="512"/>
                  </a:lnTo>
                  <a:lnTo>
                    <a:pt x="2898" y="514"/>
                  </a:lnTo>
                  <a:lnTo>
                    <a:pt x="2898" y="517"/>
                  </a:lnTo>
                  <a:lnTo>
                    <a:pt x="2898" y="518"/>
                  </a:lnTo>
                  <a:lnTo>
                    <a:pt x="2898" y="520"/>
                  </a:lnTo>
                  <a:lnTo>
                    <a:pt x="2898" y="523"/>
                  </a:lnTo>
                  <a:lnTo>
                    <a:pt x="2898" y="524"/>
                  </a:lnTo>
                  <a:lnTo>
                    <a:pt x="2898" y="525"/>
                  </a:lnTo>
                  <a:lnTo>
                    <a:pt x="2898" y="528"/>
                  </a:lnTo>
                  <a:lnTo>
                    <a:pt x="2898" y="530"/>
                  </a:lnTo>
                  <a:lnTo>
                    <a:pt x="2898" y="531"/>
                  </a:lnTo>
                  <a:lnTo>
                    <a:pt x="2898" y="533"/>
                  </a:lnTo>
                  <a:lnTo>
                    <a:pt x="2898" y="535"/>
                  </a:lnTo>
                  <a:lnTo>
                    <a:pt x="2898" y="537"/>
                  </a:lnTo>
                  <a:lnTo>
                    <a:pt x="2898" y="539"/>
                  </a:lnTo>
                  <a:lnTo>
                    <a:pt x="2898" y="541"/>
                  </a:lnTo>
                  <a:lnTo>
                    <a:pt x="2898" y="542"/>
                  </a:lnTo>
                  <a:lnTo>
                    <a:pt x="2898" y="545"/>
                  </a:lnTo>
                  <a:lnTo>
                    <a:pt x="2898" y="547"/>
                  </a:lnTo>
                  <a:lnTo>
                    <a:pt x="2898" y="547"/>
                  </a:lnTo>
                  <a:lnTo>
                    <a:pt x="2898" y="551"/>
                  </a:lnTo>
                  <a:lnTo>
                    <a:pt x="2898" y="553"/>
                  </a:lnTo>
                  <a:lnTo>
                    <a:pt x="2898" y="553"/>
                  </a:lnTo>
                  <a:lnTo>
                    <a:pt x="2898" y="556"/>
                  </a:lnTo>
                  <a:lnTo>
                    <a:pt x="2898" y="558"/>
                  </a:lnTo>
                  <a:lnTo>
                    <a:pt x="2898" y="559"/>
                  </a:lnTo>
                  <a:lnTo>
                    <a:pt x="2898" y="561"/>
                  </a:lnTo>
                  <a:lnTo>
                    <a:pt x="2898" y="563"/>
                  </a:lnTo>
                  <a:lnTo>
                    <a:pt x="2898" y="565"/>
                  </a:lnTo>
                  <a:lnTo>
                    <a:pt x="2898" y="567"/>
                  </a:lnTo>
                  <a:lnTo>
                    <a:pt x="2898" y="569"/>
                  </a:lnTo>
                  <a:lnTo>
                    <a:pt x="2898" y="571"/>
                  </a:lnTo>
                  <a:lnTo>
                    <a:pt x="2898" y="573"/>
                  </a:lnTo>
                  <a:lnTo>
                    <a:pt x="2898" y="575"/>
                  </a:lnTo>
                  <a:lnTo>
                    <a:pt x="2898" y="575"/>
                  </a:lnTo>
                  <a:lnTo>
                    <a:pt x="2898" y="579"/>
                  </a:lnTo>
                  <a:lnTo>
                    <a:pt x="2898" y="581"/>
                  </a:lnTo>
                  <a:lnTo>
                    <a:pt x="2898" y="581"/>
                  </a:lnTo>
                  <a:lnTo>
                    <a:pt x="2898" y="585"/>
                  </a:lnTo>
                  <a:lnTo>
                    <a:pt x="2898" y="587"/>
                  </a:lnTo>
                  <a:lnTo>
                    <a:pt x="2898" y="587"/>
                  </a:lnTo>
                  <a:lnTo>
                    <a:pt x="2898" y="589"/>
                  </a:lnTo>
                  <a:lnTo>
                    <a:pt x="2898" y="593"/>
                  </a:lnTo>
                  <a:lnTo>
                    <a:pt x="2898" y="593"/>
                  </a:lnTo>
                  <a:lnTo>
                    <a:pt x="2898" y="595"/>
                  </a:lnTo>
                  <a:lnTo>
                    <a:pt x="2898" y="599"/>
                  </a:lnTo>
                  <a:lnTo>
                    <a:pt x="2898" y="599"/>
                  </a:lnTo>
                  <a:lnTo>
                    <a:pt x="2898" y="601"/>
                  </a:lnTo>
                  <a:lnTo>
                    <a:pt x="2898" y="603"/>
                  </a:lnTo>
                  <a:lnTo>
                    <a:pt x="2898" y="604"/>
                  </a:lnTo>
                  <a:lnTo>
                    <a:pt x="2898" y="607"/>
                  </a:lnTo>
                  <a:lnTo>
                    <a:pt x="2898" y="609"/>
                  </a:lnTo>
                  <a:lnTo>
                    <a:pt x="2898" y="610"/>
                  </a:lnTo>
                  <a:lnTo>
                    <a:pt x="2898" y="613"/>
                  </a:lnTo>
                  <a:lnTo>
                    <a:pt x="2898" y="615"/>
                  </a:lnTo>
                  <a:lnTo>
                    <a:pt x="2898" y="616"/>
                  </a:lnTo>
                  <a:lnTo>
                    <a:pt x="2898" y="665"/>
                  </a:lnTo>
                  <a:lnTo>
                    <a:pt x="2844" y="665"/>
                  </a:lnTo>
                  <a:lnTo>
                    <a:pt x="2790" y="665"/>
                  </a:lnTo>
                  <a:lnTo>
                    <a:pt x="2737" y="665"/>
                  </a:lnTo>
                  <a:lnTo>
                    <a:pt x="2683" y="665"/>
                  </a:lnTo>
                  <a:lnTo>
                    <a:pt x="2629" y="665"/>
                  </a:lnTo>
                  <a:lnTo>
                    <a:pt x="2575" y="665"/>
                  </a:lnTo>
                  <a:lnTo>
                    <a:pt x="2521" y="665"/>
                  </a:lnTo>
                  <a:lnTo>
                    <a:pt x="2467" y="665"/>
                  </a:lnTo>
                  <a:lnTo>
                    <a:pt x="2453" y="665"/>
                  </a:lnTo>
                  <a:lnTo>
                    <a:pt x="2441" y="667"/>
                  </a:lnTo>
                  <a:lnTo>
                    <a:pt x="2429" y="669"/>
                  </a:lnTo>
                  <a:lnTo>
                    <a:pt x="2416" y="671"/>
                  </a:lnTo>
                  <a:lnTo>
                    <a:pt x="2405" y="674"/>
                  </a:lnTo>
                  <a:lnTo>
                    <a:pt x="2394" y="677"/>
                  </a:lnTo>
                  <a:lnTo>
                    <a:pt x="2383" y="682"/>
                  </a:lnTo>
                  <a:lnTo>
                    <a:pt x="2374" y="686"/>
                  </a:lnTo>
                  <a:lnTo>
                    <a:pt x="2363" y="692"/>
                  </a:lnTo>
                  <a:lnTo>
                    <a:pt x="2354" y="698"/>
                  </a:lnTo>
                  <a:lnTo>
                    <a:pt x="2346" y="704"/>
                  </a:lnTo>
                  <a:lnTo>
                    <a:pt x="2336" y="711"/>
                  </a:lnTo>
                  <a:lnTo>
                    <a:pt x="2320" y="726"/>
                  </a:lnTo>
                  <a:lnTo>
                    <a:pt x="2306" y="744"/>
                  </a:lnTo>
                  <a:lnTo>
                    <a:pt x="2279" y="777"/>
                  </a:lnTo>
                  <a:lnTo>
                    <a:pt x="2253" y="811"/>
                  </a:lnTo>
                  <a:lnTo>
                    <a:pt x="2226" y="844"/>
                  </a:lnTo>
                  <a:lnTo>
                    <a:pt x="2201" y="878"/>
                  </a:lnTo>
                  <a:lnTo>
                    <a:pt x="2188" y="894"/>
                  </a:lnTo>
                  <a:lnTo>
                    <a:pt x="2173" y="908"/>
                  </a:lnTo>
                  <a:lnTo>
                    <a:pt x="2164" y="914"/>
                  </a:lnTo>
                  <a:lnTo>
                    <a:pt x="2156" y="919"/>
                  </a:lnTo>
                  <a:lnTo>
                    <a:pt x="2147" y="925"/>
                  </a:lnTo>
                  <a:lnTo>
                    <a:pt x="2138" y="930"/>
                  </a:lnTo>
                  <a:lnTo>
                    <a:pt x="2128" y="935"/>
                  </a:lnTo>
                  <a:lnTo>
                    <a:pt x="2118" y="938"/>
                  </a:lnTo>
                  <a:lnTo>
                    <a:pt x="2106" y="942"/>
                  </a:lnTo>
                  <a:lnTo>
                    <a:pt x="2094" y="945"/>
                  </a:lnTo>
                  <a:lnTo>
                    <a:pt x="2081" y="946"/>
                  </a:lnTo>
                  <a:lnTo>
                    <a:pt x="2068" y="949"/>
                  </a:lnTo>
                  <a:lnTo>
                    <a:pt x="2054" y="950"/>
                  </a:lnTo>
                  <a:lnTo>
                    <a:pt x="2039" y="950"/>
                  </a:lnTo>
                  <a:lnTo>
                    <a:pt x="2030" y="950"/>
                  </a:lnTo>
                  <a:lnTo>
                    <a:pt x="2019" y="950"/>
                  </a:lnTo>
                  <a:lnTo>
                    <a:pt x="2010" y="950"/>
                  </a:lnTo>
                  <a:lnTo>
                    <a:pt x="2001" y="950"/>
                  </a:lnTo>
                  <a:lnTo>
                    <a:pt x="1937" y="950"/>
                  </a:lnTo>
                  <a:lnTo>
                    <a:pt x="1919" y="965"/>
                  </a:lnTo>
                  <a:lnTo>
                    <a:pt x="1901" y="980"/>
                  </a:lnTo>
                  <a:lnTo>
                    <a:pt x="1882" y="993"/>
                  </a:lnTo>
                  <a:lnTo>
                    <a:pt x="1863" y="1006"/>
                  </a:lnTo>
                  <a:lnTo>
                    <a:pt x="1843" y="1019"/>
                  </a:lnTo>
                  <a:lnTo>
                    <a:pt x="1822" y="1029"/>
                  </a:lnTo>
                  <a:lnTo>
                    <a:pt x="1801" y="1040"/>
                  </a:lnTo>
                  <a:lnTo>
                    <a:pt x="1778" y="1049"/>
                  </a:lnTo>
                  <a:lnTo>
                    <a:pt x="1755" y="1058"/>
                  </a:lnTo>
                  <a:lnTo>
                    <a:pt x="1732" y="1065"/>
                  </a:lnTo>
                  <a:lnTo>
                    <a:pt x="1707" y="1070"/>
                  </a:lnTo>
                  <a:lnTo>
                    <a:pt x="1681" y="1075"/>
                  </a:lnTo>
                  <a:lnTo>
                    <a:pt x="1655" y="1079"/>
                  </a:lnTo>
                  <a:lnTo>
                    <a:pt x="1629" y="1081"/>
                  </a:lnTo>
                  <a:lnTo>
                    <a:pt x="1600" y="1082"/>
                  </a:lnTo>
                  <a:lnTo>
                    <a:pt x="1571" y="1081"/>
                  </a:lnTo>
                  <a:lnTo>
                    <a:pt x="1556" y="1081"/>
                  </a:lnTo>
                  <a:lnTo>
                    <a:pt x="1541" y="1081"/>
                  </a:lnTo>
                  <a:lnTo>
                    <a:pt x="1526" y="1081"/>
                  </a:lnTo>
                  <a:lnTo>
                    <a:pt x="1510" y="1081"/>
                  </a:lnTo>
                  <a:lnTo>
                    <a:pt x="1509" y="1081"/>
                  </a:lnTo>
                  <a:lnTo>
                    <a:pt x="1508" y="1081"/>
                  </a:lnTo>
                  <a:lnTo>
                    <a:pt x="1507" y="1081"/>
                  </a:lnTo>
                  <a:lnTo>
                    <a:pt x="1506" y="1081"/>
                  </a:lnTo>
                  <a:lnTo>
                    <a:pt x="1505" y="1081"/>
                  </a:lnTo>
                  <a:lnTo>
                    <a:pt x="1503" y="1081"/>
                  </a:lnTo>
                  <a:lnTo>
                    <a:pt x="1502" y="1081"/>
                  </a:lnTo>
                  <a:lnTo>
                    <a:pt x="1501" y="1081"/>
                  </a:lnTo>
                  <a:lnTo>
                    <a:pt x="1500" y="1081"/>
                  </a:lnTo>
                  <a:lnTo>
                    <a:pt x="1499" y="1081"/>
                  </a:lnTo>
                  <a:lnTo>
                    <a:pt x="1498" y="1081"/>
                  </a:lnTo>
                  <a:lnTo>
                    <a:pt x="1496" y="1081"/>
                  </a:lnTo>
                  <a:lnTo>
                    <a:pt x="1495" y="1081"/>
                  </a:lnTo>
                  <a:lnTo>
                    <a:pt x="1494" y="1081"/>
                  </a:lnTo>
                  <a:lnTo>
                    <a:pt x="1493" y="1081"/>
                  </a:lnTo>
                  <a:lnTo>
                    <a:pt x="1492" y="1081"/>
                  </a:lnTo>
                  <a:lnTo>
                    <a:pt x="1490" y="1081"/>
                  </a:lnTo>
                  <a:lnTo>
                    <a:pt x="1489" y="1081"/>
                  </a:lnTo>
                  <a:lnTo>
                    <a:pt x="1488" y="1081"/>
                  </a:lnTo>
                  <a:lnTo>
                    <a:pt x="1487" y="1081"/>
                  </a:lnTo>
                  <a:lnTo>
                    <a:pt x="1487" y="1081"/>
                  </a:lnTo>
                  <a:lnTo>
                    <a:pt x="1486" y="1081"/>
                  </a:lnTo>
                  <a:lnTo>
                    <a:pt x="1485" y="1081"/>
                  </a:lnTo>
                  <a:lnTo>
                    <a:pt x="1483" y="1081"/>
                  </a:lnTo>
                  <a:lnTo>
                    <a:pt x="1482" y="1081"/>
                  </a:lnTo>
                  <a:lnTo>
                    <a:pt x="1481" y="1081"/>
                  </a:lnTo>
                  <a:lnTo>
                    <a:pt x="1480" y="1081"/>
                  </a:lnTo>
                  <a:lnTo>
                    <a:pt x="1479" y="1081"/>
                  </a:lnTo>
                  <a:lnTo>
                    <a:pt x="1478" y="1081"/>
                  </a:lnTo>
                  <a:lnTo>
                    <a:pt x="1476" y="1081"/>
                  </a:lnTo>
                  <a:lnTo>
                    <a:pt x="1475" y="1081"/>
                  </a:lnTo>
                  <a:lnTo>
                    <a:pt x="1474" y="1081"/>
                  </a:lnTo>
                  <a:lnTo>
                    <a:pt x="1473" y="1081"/>
                  </a:lnTo>
                  <a:lnTo>
                    <a:pt x="1472" y="1081"/>
                  </a:lnTo>
                  <a:lnTo>
                    <a:pt x="1471" y="1081"/>
                  </a:lnTo>
                  <a:lnTo>
                    <a:pt x="1469" y="1081"/>
                  </a:lnTo>
                  <a:lnTo>
                    <a:pt x="1468" y="1081"/>
                  </a:lnTo>
                  <a:lnTo>
                    <a:pt x="1467" y="1081"/>
                  </a:lnTo>
                  <a:lnTo>
                    <a:pt x="1466" y="1081"/>
                  </a:lnTo>
                  <a:lnTo>
                    <a:pt x="1465" y="1081"/>
                  </a:lnTo>
                  <a:lnTo>
                    <a:pt x="1464" y="1081"/>
                  </a:lnTo>
                  <a:lnTo>
                    <a:pt x="1462" y="1081"/>
                  </a:lnTo>
                  <a:lnTo>
                    <a:pt x="1461" y="1081"/>
                  </a:lnTo>
                  <a:lnTo>
                    <a:pt x="1460" y="1081"/>
                  </a:lnTo>
                  <a:lnTo>
                    <a:pt x="1459" y="1081"/>
                  </a:lnTo>
                  <a:lnTo>
                    <a:pt x="1458" y="1081"/>
                  </a:lnTo>
                  <a:lnTo>
                    <a:pt x="1457" y="1081"/>
                  </a:lnTo>
                  <a:lnTo>
                    <a:pt x="1455" y="1081"/>
                  </a:lnTo>
                  <a:lnTo>
                    <a:pt x="1454" y="1081"/>
                  </a:lnTo>
                  <a:lnTo>
                    <a:pt x="1453" y="1081"/>
                  </a:lnTo>
                  <a:lnTo>
                    <a:pt x="1453" y="1081"/>
                  </a:lnTo>
                  <a:lnTo>
                    <a:pt x="1452" y="1081"/>
                  </a:lnTo>
                  <a:lnTo>
                    <a:pt x="1451" y="1081"/>
                  </a:lnTo>
                  <a:lnTo>
                    <a:pt x="1450" y="1081"/>
                  </a:lnTo>
                  <a:lnTo>
                    <a:pt x="1448" y="1081"/>
                  </a:lnTo>
                  <a:lnTo>
                    <a:pt x="1447" y="1081"/>
                  </a:lnTo>
                  <a:lnTo>
                    <a:pt x="1446" y="1081"/>
                  </a:lnTo>
                  <a:lnTo>
                    <a:pt x="1445" y="1081"/>
                  </a:lnTo>
                  <a:lnTo>
                    <a:pt x="1444" y="1081"/>
                  </a:lnTo>
                  <a:lnTo>
                    <a:pt x="1443" y="1081"/>
                  </a:lnTo>
                  <a:lnTo>
                    <a:pt x="1441" y="1081"/>
                  </a:lnTo>
                  <a:lnTo>
                    <a:pt x="1440" y="1081"/>
                  </a:lnTo>
                  <a:lnTo>
                    <a:pt x="1439" y="1081"/>
                  </a:lnTo>
                  <a:lnTo>
                    <a:pt x="1438" y="1081"/>
                  </a:lnTo>
                  <a:lnTo>
                    <a:pt x="0" y="1081"/>
                  </a:lnTo>
                  <a:lnTo>
                    <a:pt x="17" y="1061"/>
                  </a:lnTo>
                  <a:lnTo>
                    <a:pt x="1436" y="1061"/>
                  </a:lnTo>
                  <a:lnTo>
                    <a:pt x="1437" y="1061"/>
                  </a:lnTo>
                  <a:lnTo>
                    <a:pt x="1438" y="1061"/>
                  </a:lnTo>
                  <a:lnTo>
                    <a:pt x="1439" y="1061"/>
                  </a:lnTo>
                  <a:lnTo>
                    <a:pt x="1440" y="1061"/>
                  </a:lnTo>
                  <a:lnTo>
                    <a:pt x="1441" y="1061"/>
                  </a:lnTo>
                  <a:lnTo>
                    <a:pt x="1443" y="1061"/>
                  </a:lnTo>
                  <a:lnTo>
                    <a:pt x="1444" y="1061"/>
                  </a:lnTo>
                  <a:lnTo>
                    <a:pt x="1445" y="1061"/>
                  </a:lnTo>
                  <a:lnTo>
                    <a:pt x="1446" y="1061"/>
                  </a:lnTo>
                  <a:lnTo>
                    <a:pt x="1447" y="1061"/>
                  </a:lnTo>
                  <a:lnTo>
                    <a:pt x="1448" y="1061"/>
                  </a:lnTo>
                  <a:lnTo>
                    <a:pt x="1450" y="1061"/>
                  </a:lnTo>
                  <a:lnTo>
                    <a:pt x="1451" y="1061"/>
                  </a:lnTo>
                  <a:lnTo>
                    <a:pt x="1452" y="1061"/>
                  </a:lnTo>
                  <a:lnTo>
                    <a:pt x="1453" y="1061"/>
                  </a:lnTo>
                  <a:lnTo>
                    <a:pt x="1454" y="1061"/>
                  </a:lnTo>
                  <a:lnTo>
                    <a:pt x="1455" y="1061"/>
                  </a:lnTo>
                  <a:lnTo>
                    <a:pt x="1457" y="1061"/>
                  </a:lnTo>
                  <a:lnTo>
                    <a:pt x="1458" y="1061"/>
                  </a:lnTo>
                  <a:lnTo>
                    <a:pt x="1459" y="1061"/>
                  </a:lnTo>
                  <a:lnTo>
                    <a:pt x="1460" y="1061"/>
                  </a:lnTo>
                  <a:lnTo>
                    <a:pt x="1461" y="1061"/>
                  </a:lnTo>
                  <a:lnTo>
                    <a:pt x="1462" y="1061"/>
                  </a:lnTo>
                  <a:lnTo>
                    <a:pt x="1464" y="1061"/>
                  </a:lnTo>
                  <a:lnTo>
                    <a:pt x="1465" y="1061"/>
                  </a:lnTo>
                  <a:lnTo>
                    <a:pt x="1466" y="1061"/>
                  </a:lnTo>
                  <a:lnTo>
                    <a:pt x="1467" y="1061"/>
                  </a:lnTo>
                  <a:lnTo>
                    <a:pt x="1468" y="1061"/>
                  </a:lnTo>
                  <a:lnTo>
                    <a:pt x="1469" y="1061"/>
                  </a:lnTo>
                  <a:lnTo>
                    <a:pt x="1471" y="1061"/>
                  </a:lnTo>
                  <a:lnTo>
                    <a:pt x="1472" y="1061"/>
                  </a:lnTo>
                  <a:lnTo>
                    <a:pt x="1473" y="1061"/>
                  </a:lnTo>
                  <a:lnTo>
                    <a:pt x="1474" y="1061"/>
                  </a:lnTo>
                  <a:lnTo>
                    <a:pt x="1475" y="1061"/>
                  </a:lnTo>
                  <a:lnTo>
                    <a:pt x="1476" y="1061"/>
                  </a:lnTo>
                  <a:lnTo>
                    <a:pt x="1478" y="1061"/>
                  </a:lnTo>
                  <a:lnTo>
                    <a:pt x="1479" y="1061"/>
                  </a:lnTo>
                  <a:lnTo>
                    <a:pt x="1480" y="1061"/>
                  </a:lnTo>
                  <a:lnTo>
                    <a:pt x="1481" y="1061"/>
                  </a:lnTo>
                  <a:lnTo>
                    <a:pt x="1482" y="1061"/>
                  </a:lnTo>
                  <a:lnTo>
                    <a:pt x="1483" y="1061"/>
                  </a:lnTo>
                  <a:lnTo>
                    <a:pt x="1485" y="1061"/>
                  </a:lnTo>
                  <a:lnTo>
                    <a:pt x="1486" y="1061"/>
                  </a:lnTo>
                  <a:lnTo>
                    <a:pt x="1487" y="1061"/>
                  </a:lnTo>
                  <a:lnTo>
                    <a:pt x="1488" y="1061"/>
                  </a:lnTo>
                  <a:lnTo>
                    <a:pt x="1489" y="1061"/>
                  </a:lnTo>
                  <a:lnTo>
                    <a:pt x="1490" y="1061"/>
                  </a:lnTo>
                  <a:lnTo>
                    <a:pt x="1492" y="1061"/>
                  </a:lnTo>
                  <a:lnTo>
                    <a:pt x="1493" y="1061"/>
                  </a:lnTo>
                  <a:lnTo>
                    <a:pt x="1494" y="1061"/>
                  </a:lnTo>
                  <a:lnTo>
                    <a:pt x="1495" y="1061"/>
                  </a:lnTo>
                  <a:lnTo>
                    <a:pt x="1496" y="1061"/>
                  </a:lnTo>
                  <a:lnTo>
                    <a:pt x="1498" y="1061"/>
                  </a:lnTo>
                  <a:lnTo>
                    <a:pt x="1499" y="1061"/>
                  </a:lnTo>
                  <a:lnTo>
                    <a:pt x="1500" y="1061"/>
                  </a:lnTo>
                  <a:lnTo>
                    <a:pt x="1501" y="1061"/>
                  </a:lnTo>
                  <a:lnTo>
                    <a:pt x="1502" y="1061"/>
                  </a:lnTo>
                  <a:lnTo>
                    <a:pt x="1503" y="1061"/>
                  </a:lnTo>
                  <a:lnTo>
                    <a:pt x="1505" y="1061"/>
                  </a:lnTo>
                  <a:lnTo>
                    <a:pt x="1506" y="1061"/>
                  </a:lnTo>
                  <a:lnTo>
                    <a:pt x="1507" y="1061"/>
                  </a:lnTo>
                  <a:lnTo>
                    <a:pt x="1508" y="1061"/>
                  </a:lnTo>
                  <a:lnTo>
                    <a:pt x="1509" y="1061"/>
                  </a:lnTo>
                  <a:lnTo>
                    <a:pt x="1510" y="1061"/>
                  </a:lnTo>
                  <a:lnTo>
                    <a:pt x="1533" y="1059"/>
                  </a:lnTo>
                  <a:lnTo>
                    <a:pt x="1554" y="1056"/>
                  </a:lnTo>
                  <a:lnTo>
                    <a:pt x="1575" y="1053"/>
                  </a:lnTo>
                  <a:lnTo>
                    <a:pt x="1595" y="1048"/>
                  </a:lnTo>
                  <a:lnTo>
                    <a:pt x="1615" y="1044"/>
                  </a:lnTo>
                  <a:lnTo>
                    <a:pt x="1633" y="1038"/>
                  </a:lnTo>
                  <a:lnTo>
                    <a:pt x="1652" y="1032"/>
                  </a:lnTo>
                  <a:lnTo>
                    <a:pt x="1670" y="1025"/>
                  </a:lnTo>
                  <a:lnTo>
                    <a:pt x="1686" y="1018"/>
                  </a:lnTo>
                  <a:lnTo>
                    <a:pt x="1702" y="1010"/>
                  </a:lnTo>
                  <a:lnTo>
                    <a:pt x="1719" y="1001"/>
                  </a:lnTo>
                  <a:lnTo>
                    <a:pt x="1733" y="992"/>
                  </a:lnTo>
                  <a:lnTo>
                    <a:pt x="1748" y="983"/>
                  </a:lnTo>
                  <a:lnTo>
                    <a:pt x="1762" y="972"/>
                  </a:lnTo>
                  <a:lnTo>
                    <a:pt x="1775" y="960"/>
                  </a:lnTo>
                  <a:lnTo>
                    <a:pt x="1788" y="950"/>
                  </a:lnTo>
                  <a:lnTo>
                    <a:pt x="1030" y="950"/>
                  </a:lnTo>
                  <a:lnTo>
                    <a:pt x="1008" y="967"/>
                  </a:lnTo>
                  <a:lnTo>
                    <a:pt x="989" y="984"/>
                  </a:lnTo>
                  <a:lnTo>
                    <a:pt x="978" y="992"/>
                  </a:lnTo>
                  <a:lnTo>
                    <a:pt x="966" y="999"/>
                  </a:lnTo>
                  <a:lnTo>
                    <a:pt x="956" y="1005"/>
                  </a:lnTo>
                  <a:lnTo>
                    <a:pt x="943" y="1011"/>
                  </a:lnTo>
                  <a:lnTo>
                    <a:pt x="931" y="1015"/>
                  </a:lnTo>
                  <a:lnTo>
                    <a:pt x="917" y="1020"/>
                  </a:lnTo>
                  <a:lnTo>
                    <a:pt x="903" y="1025"/>
                  </a:lnTo>
                  <a:lnTo>
                    <a:pt x="889" y="1028"/>
                  </a:lnTo>
                  <a:lnTo>
                    <a:pt x="873" y="1032"/>
                  </a:lnTo>
                  <a:lnTo>
                    <a:pt x="855" y="1034"/>
                  </a:lnTo>
                  <a:lnTo>
                    <a:pt x="836" y="1035"/>
                  </a:lnTo>
                  <a:lnTo>
                    <a:pt x="817" y="1037"/>
                  </a:lnTo>
                  <a:lnTo>
                    <a:pt x="817" y="1037"/>
                  </a:lnTo>
                  <a:lnTo>
                    <a:pt x="817" y="1037"/>
                  </a:lnTo>
                  <a:lnTo>
                    <a:pt x="817" y="1037"/>
                  </a:lnTo>
                  <a:lnTo>
                    <a:pt x="815" y="1037"/>
                  </a:lnTo>
                  <a:lnTo>
                    <a:pt x="815" y="1037"/>
                  </a:lnTo>
                  <a:lnTo>
                    <a:pt x="815" y="1037"/>
                  </a:lnTo>
                  <a:lnTo>
                    <a:pt x="814" y="1037"/>
                  </a:lnTo>
                  <a:lnTo>
                    <a:pt x="814" y="1037"/>
                  </a:lnTo>
                  <a:lnTo>
                    <a:pt x="814" y="1037"/>
                  </a:lnTo>
                  <a:lnTo>
                    <a:pt x="814" y="1037"/>
                  </a:lnTo>
                  <a:lnTo>
                    <a:pt x="813" y="1037"/>
                  </a:lnTo>
                  <a:lnTo>
                    <a:pt x="813" y="1037"/>
                  </a:lnTo>
                  <a:lnTo>
                    <a:pt x="813" y="1037"/>
                  </a:lnTo>
                  <a:lnTo>
                    <a:pt x="812" y="1037"/>
                  </a:lnTo>
                  <a:lnTo>
                    <a:pt x="812" y="1037"/>
                  </a:lnTo>
                  <a:lnTo>
                    <a:pt x="812" y="1037"/>
                  </a:lnTo>
                  <a:lnTo>
                    <a:pt x="812" y="1037"/>
                  </a:lnTo>
                  <a:lnTo>
                    <a:pt x="811" y="1037"/>
                  </a:lnTo>
                  <a:lnTo>
                    <a:pt x="811" y="1037"/>
                  </a:lnTo>
                  <a:lnTo>
                    <a:pt x="811" y="1037"/>
                  </a:lnTo>
                  <a:lnTo>
                    <a:pt x="810" y="1037"/>
                  </a:lnTo>
                  <a:lnTo>
                    <a:pt x="810" y="1037"/>
                  </a:lnTo>
                  <a:lnTo>
                    <a:pt x="810" y="1037"/>
                  </a:lnTo>
                  <a:lnTo>
                    <a:pt x="810" y="1037"/>
                  </a:lnTo>
                  <a:lnTo>
                    <a:pt x="808" y="1037"/>
                  </a:lnTo>
                  <a:lnTo>
                    <a:pt x="808" y="1037"/>
                  </a:lnTo>
                  <a:lnTo>
                    <a:pt x="808" y="1037"/>
                  </a:lnTo>
                  <a:lnTo>
                    <a:pt x="807" y="1037"/>
                  </a:lnTo>
                  <a:lnTo>
                    <a:pt x="807" y="1037"/>
                  </a:lnTo>
                  <a:lnTo>
                    <a:pt x="807" y="1037"/>
                  </a:lnTo>
                  <a:lnTo>
                    <a:pt x="806" y="1037"/>
                  </a:lnTo>
                  <a:lnTo>
                    <a:pt x="806" y="1037"/>
                  </a:lnTo>
                  <a:lnTo>
                    <a:pt x="806" y="1037"/>
                  </a:lnTo>
                  <a:lnTo>
                    <a:pt x="806" y="1037"/>
                  </a:lnTo>
                  <a:lnTo>
                    <a:pt x="805" y="1037"/>
                  </a:lnTo>
                  <a:lnTo>
                    <a:pt x="805" y="1037"/>
                  </a:lnTo>
                  <a:lnTo>
                    <a:pt x="805" y="1037"/>
                  </a:lnTo>
                  <a:lnTo>
                    <a:pt x="804" y="1037"/>
                  </a:lnTo>
                  <a:lnTo>
                    <a:pt x="804" y="1037"/>
                  </a:lnTo>
                  <a:lnTo>
                    <a:pt x="804" y="1037"/>
                  </a:lnTo>
                  <a:lnTo>
                    <a:pt x="804" y="1037"/>
                  </a:lnTo>
                  <a:lnTo>
                    <a:pt x="803" y="1037"/>
                  </a:lnTo>
                  <a:lnTo>
                    <a:pt x="803" y="1037"/>
                  </a:lnTo>
                  <a:lnTo>
                    <a:pt x="803" y="1037"/>
                  </a:lnTo>
                  <a:lnTo>
                    <a:pt x="801" y="1037"/>
                  </a:lnTo>
                  <a:lnTo>
                    <a:pt x="801" y="1037"/>
                  </a:lnTo>
                  <a:lnTo>
                    <a:pt x="801" y="1037"/>
                  </a:lnTo>
                  <a:lnTo>
                    <a:pt x="801" y="1037"/>
                  </a:lnTo>
                  <a:lnTo>
                    <a:pt x="800" y="1037"/>
                  </a:lnTo>
                  <a:lnTo>
                    <a:pt x="800" y="1037"/>
                  </a:lnTo>
                  <a:lnTo>
                    <a:pt x="800" y="1037"/>
                  </a:lnTo>
                  <a:lnTo>
                    <a:pt x="799" y="1037"/>
                  </a:lnTo>
                  <a:lnTo>
                    <a:pt x="799" y="1037"/>
                  </a:lnTo>
                  <a:lnTo>
                    <a:pt x="799" y="1037"/>
                  </a:lnTo>
                  <a:lnTo>
                    <a:pt x="799" y="1037"/>
                  </a:lnTo>
                  <a:lnTo>
                    <a:pt x="798" y="1037"/>
                  </a:lnTo>
                  <a:lnTo>
                    <a:pt x="798" y="1037"/>
                  </a:lnTo>
                  <a:lnTo>
                    <a:pt x="798" y="1037"/>
                  </a:lnTo>
                  <a:lnTo>
                    <a:pt x="797" y="1037"/>
                  </a:lnTo>
                  <a:lnTo>
                    <a:pt x="797" y="1037"/>
                  </a:lnTo>
                  <a:lnTo>
                    <a:pt x="797" y="1037"/>
                  </a:lnTo>
                  <a:lnTo>
                    <a:pt x="797" y="1037"/>
                  </a:lnTo>
                  <a:lnTo>
                    <a:pt x="796" y="1037"/>
                  </a:lnTo>
                  <a:lnTo>
                    <a:pt x="796" y="1037"/>
                  </a:lnTo>
                  <a:lnTo>
                    <a:pt x="37" y="1037"/>
                  </a:lnTo>
                  <a:lnTo>
                    <a:pt x="55" y="1017"/>
                  </a:lnTo>
                  <a:close/>
                  <a:moveTo>
                    <a:pt x="2370" y="616"/>
                  </a:moveTo>
                  <a:lnTo>
                    <a:pt x="2214" y="616"/>
                  </a:lnTo>
                  <a:lnTo>
                    <a:pt x="2029" y="850"/>
                  </a:lnTo>
                  <a:lnTo>
                    <a:pt x="2012" y="870"/>
                  </a:lnTo>
                  <a:lnTo>
                    <a:pt x="1995" y="891"/>
                  </a:lnTo>
                  <a:lnTo>
                    <a:pt x="1977" y="910"/>
                  </a:lnTo>
                  <a:lnTo>
                    <a:pt x="1958" y="929"/>
                  </a:lnTo>
                  <a:lnTo>
                    <a:pt x="2001" y="929"/>
                  </a:lnTo>
                  <a:lnTo>
                    <a:pt x="2010" y="929"/>
                  </a:lnTo>
                  <a:lnTo>
                    <a:pt x="2019" y="929"/>
                  </a:lnTo>
                  <a:lnTo>
                    <a:pt x="2030" y="929"/>
                  </a:lnTo>
                  <a:lnTo>
                    <a:pt x="2039" y="929"/>
                  </a:lnTo>
                  <a:lnTo>
                    <a:pt x="2054" y="929"/>
                  </a:lnTo>
                  <a:lnTo>
                    <a:pt x="2067" y="926"/>
                  </a:lnTo>
                  <a:lnTo>
                    <a:pt x="2080" y="925"/>
                  </a:lnTo>
                  <a:lnTo>
                    <a:pt x="2093" y="922"/>
                  </a:lnTo>
                  <a:lnTo>
                    <a:pt x="2104" y="919"/>
                  </a:lnTo>
                  <a:lnTo>
                    <a:pt x="2114" y="915"/>
                  </a:lnTo>
                  <a:lnTo>
                    <a:pt x="2123" y="911"/>
                  </a:lnTo>
                  <a:lnTo>
                    <a:pt x="2133" y="907"/>
                  </a:lnTo>
                  <a:lnTo>
                    <a:pt x="2141" y="901"/>
                  </a:lnTo>
                  <a:lnTo>
                    <a:pt x="2149" y="896"/>
                  </a:lnTo>
                  <a:lnTo>
                    <a:pt x="2157" y="889"/>
                  </a:lnTo>
                  <a:lnTo>
                    <a:pt x="2164" y="883"/>
                  </a:lnTo>
                  <a:lnTo>
                    <a:pt x="2177" y="870"/>
                  </a:lnTo>
                  <a:lnTo>
                    <a:pt x="2188" y="855"/>
                  </a:lnTo>
                  <a:lnTo>
                    <a:pt x="2209" y="828"/>
                  </a:lnTo>
                  <a:lnTo>
                    <a:pt x="2230" y="801"/>
                  </a:lnTo>
                  <a:lnTo>
                    <a:pt x="2251" y="774"/>
                  </a:lnTo>
                  <a:lnTo>
                    <a:pt x="2272" y="747"/>
                  </a:lnTo>
                  <a:lnTo>
                    <a:pt x="2292" y="720"/>
                  </a:lnTo>
                  <a:lnTo>
                    <a:pt x="2313" y="693"/>
                  </a:lnTo>
                  <a:lnTo>
                    <a:pt x="2333" y="667"/>
                  </a:lnTo>
                  <a:lnTo>
                    <a:pt x="2353" y="638"/>
                  </a:lnTo>
                  <a:lnTo>
                    <a:pt x="2362" y="627"/>
                  </a:lnTo>
                  <a:lnTo>
                    <a:pt x="2370" y="616"/>
                  </a:lnTo>
                  <a:close/>
                  <a:moveTo>
                    <a:pt x="1808" y="929"/>
                  </a:moveTo>
                  <a:lnTo>
                    <a:pt x="1816" y="919"/>
                  </a:lnTo>
                  <a:lnTo>
                    <a:pt x="1825" y="909"/>
                  </a:lnTo>
                  <a:lnTo>
                    <a:pt x="1853" y="873"/>
                  </a:lnTo>
                  <a:lnTo>
                    <a:pt x="1882" y="835"/>
                  </a:lnTo>
                  <a:lnTo>
                    <a:pt x="1911" y="799"/>
                  </a:lnTo>
                  <a:lnTo>
                    <a:pt x="1940" y="763"/>
                  </a:lnTo>
                  <a:lnTo>
                    <a:pt x="1968" y="726"/>
                  </a:lnTo>
                  <a:lnTo>
                    <a:pt x="1997" y="689"/>
                  </a:lnTo>
                  <a:lnTo>
                    <a:pt x="2025" y="652"/>
                  </a:lnTo>
                  <a:lnTo>
                    <a:pt x="2053" y="616"/>
                  </a:lnTo>
                  <a:lnTo>
                    <a:pt x="1459" y="616"/>
                  </a:lnTo>
                  <a:lnTo>
                    <a:pt x="1440" y="616"/>
                  </a:lnTo>
                  <a:lnTo>
                    <a:pt x="1421" y="617"/>
                  </a:lnTo>
                  <a:lnTo>
                    <a:pt x="1404" y="620"/>
                  </a:lnTo>
                  <a:lnTo>
                    <a:pt x="1386" y="622"/>
                  </a:lnTo>
                  <a:lnTo>
                    <a:pt x="1369" y="626"/>
                  </a:lnTo>
                  <a:lnTo>
                    <a:pt x="1354" y="630"/>
                  </a:lnTo>
                  <a:lnTo>
                    <a:pt x="1337" y="636"/>
                  </a:lnTo>
                  <a:lnTo>
                    <a:pt x="1322" y="642"/>
                  </a:lnTo>
                  <a:lnTo>
                    <a:pt x="1308" y="648"/>
                  </a:lnTo>
                  <a:lnTo>
                    <a:pt x="1294" y="655"/>
                  </a:lnTo>
                  <a:lnTo>
                    <a:pt x="1281" y="663"/>
                  </a:lnTo>
                  <a:lnTo>
                    <a:pt x="1268" y="672"/>
                  </a:lnTo>
                  <a:lnTo>
                    <a:pt x="1255" y="682"/>
                  </a:lnTo>
                  <a:lnTo>
                    <a:pt x="1244" y="691"/>
                  </a:lnTo>
                  <a:lnTo>
                    <a:pt x="1232" y="702"/>
                  </a:lnTo>
                  <a:lnTo>
                    <a:pt x="1221" y="713"/>
                  </a:lnTo>
                  <a:lnTo>
                    <a:pt x="1046" y="929"/>
                  </a:lnTo>
                  <a:lnTo>
                    <a:pt x="1808" y="929"/>
                  </a:lnTo>
                  <a:close/>
                </a:path>
              </a:pathLst>
            </a:cu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5" name="Freeform 95"/>
            <p:cNvSpPr>
              <a:spLocks/>
            </p:cNvSpPr>
            <p:nvPr userDrawn="1"/>
          </p:nvSpPr>
          <p:spPr bwMode="auto">
            <a:xfrm>
              <a:off x="11177720" y="4681538"/>
              <a:ext cx="295032" cy="193675"/>
            </a:xfrm>
            <a:custGeom>
              <a:avLst/>
              <a:gdLst>
                <a:gd name="T0" fmla="*/ 275 w 451"/>
                <a:gd name="T1" fmla="*/ 0 h 367"/>
                <a:gd name="T2" fmla="*/ 451 w 451"/>
                <a:gd name="T3" fmla="*/ 0 h 367"/>
                <a:gd name="T4" fmla="*/ 161 w 451"/>
                <a:gd name="T5" fmla="*/ 367 h 367"/>
                <a:gd name="T6" fmla="*/ 0 w 451"/>
                <a:gd name="T7" fmla="*/ 367 h 367"/>
                <a:gd name="T8" fmla="*/ 35 w 451"/>
                <a:gd name="T9" fmla="*/ 322 h 367"/>
                <a:gd name="T10" fmla="*/ 70 w 451"/>
                <a:gd name="T11" fmla="*/ 276 h 367"/>
                <a:gd name="T12" fmla="*/ 106 w 451"/>
                <a:gd name="T13" fmla="*/ 230 h 367"/>
                <a:gd name="T14" fmla="*/ 139 w 451"/>
                <a:gd name="T15" fmla="*/ 185 h 367"/>
                <a:gd name="T16" fmla="*/ 175 w 451"/>
                <a:gd name="T17" fmla="*/ 138 h 367"/>
                <a:gd name="T18" fmla="*/ 209 w 451"/>
                <a:gd name="T19" fmla="*/ 92 h 367"/>
                <a:gd name="T20" fmla="*/ 242 w 451"/>
                <a:gd name="T21" fmla="*/ 45 h 367"/>
                <a:gd name="T22" fmla="*/ 275 w 451"/>
                <a:gd name="T23" fmla="*/ 0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51" h="367">
                  <a:moveTo>
                    <a:pt x="275" y="0"/>
                  </a:moveTo>
                  <a:lnTo>
                    <a:pt x="451" y="0"/>
                  </a:lnTo>
                  <a:lnTo>
                    <a:pt x="161" y="367"/>
                  </a:lnTo>
                  <a:lnTo>
                    <a:pt x="0" y="367"/>
                  </a:lnTo>
                  <a:lnTo>
                    <a:pt x="35" y="322"/>
                  </a:lnTo>
                  <a:lnTo>
                    <a:pt x="70" y="276"/>
                  </a:lnTo>
                  <a:lnTo>
                    <a:pt x="106" y="230"/>
                  </a:lnTo>
                  <a:lnTo>
                    <a:pt x="139" y="185"/>
                  </a:lnTo>
                  <a:lnTo>
                    <a:pt x="175" y="138"/>
                  </a:lnTo>
                  <a:lnTo>
                    <a:pt x="209" y="92"/>
                  </a:lnTo>
                  <a:lnTo>
                    <a:pt x="242" y="45"/>
                  </a:lnTo>
                  <a:lnTo>
                    <a:pt x="275" y="0"/>
                  </a:ln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6" name="Freeform 96"/>
            <p:cNvSpPr>
              <a:spLocks noEditPoints="1"/>
            </p:cNvSpPr>
            <p:nvPr userDrawn="1"/>
          </p:nvSpPr>
          <p:spPr bwMode="auto">
            <a:xfrm>
              <a:off x="10472386" y="4806954"/>
              <a:ext cx="1256324" cy="246063"/>
            </a:xfrm>
            <a:custGeom>
              <a:avLst/>
              <a:gdLst>
                <a:gd name="T0" fmla="*/ 1414 w 1930"/>
                <a:gd name="T1" fmla="*/ 115 h 464"/>
                <a:gd name="T2" fmla="*/ 1437 w 1930"/>
                <a:gd name="T3" fmla="*/ 88 h 464"/>
                <a:gd name="T4" fmla="*/ 1461 w 1930"/>
                <a:gd name="T5" fmla="*/ 66 h 464"/>
                <a:gd name="T6" fmla="*/ 1485 w 1930"/>
                <a:gd name="T7" fmla="*/ 46 h 464"/>
                <a:gd name="T8" fmla="*/ 1510 w 1930"/>
                <a:gd name="T9" fmla="*/ 29 h 464"/>
                <a:gd name="T10" fmla="*/ 1535 w 1930"/>
                <a:gd name="T11" fmla="*/ 17 h 464"/>
                <a:gd name="T12" fmla="*/ 1560 w 1930"/>
                <a:gd name="T13" fmla="*/ 7 h 464"/>
                <a:gd name="T14" fmla="*/ 1587 w 1930"/>
                <a:gd name="T15" fmla="*/ 1 h 464"/>
                <a:gd name="T16" fmla="*/ 1641 w 1930"/>
                <a:gd name="T17" fmla="*/ 0 h 464"/>
                <a:gd name="T18" fmla="*/ 1724 w 1930"/>
                <a:gd name="T19" fmla="*/ 0 h 464"/>
                <a:gd name="T20" fmla="*/ 1806 w 1930"/>
                <a:gd name="T21" fmla="*/ 0 h 464"/>
                <a:gd name="T22" fmla="*/ 1889 w 1930"/>
                <a:gd name="T23" fmla="*/ 0 h 464"/>
                <a:gd name="T24" fmla="*/ 1930 w 1930"/>
                <a:gd name="T25" fmla="*/ 3 h 464"/>
                <a:gd name="T26" fmla="*/ 1930 w 1930"/>
                <a:gd name="T27" fmla="*/ 6 h 464"/>
                <a:gd name="T28" fmla="*/ 1930 w 1930"/>
                <a:gd name="T29" fmla="*/ 10 h 464"/>
                <a:gd name="T30" fmla="*/ 1930 w 1930"/>
                <a:gd name="T31" fmla="*/ 14 h 464"/>
                <a:gd name="T32" fmla="*/ 1930 w 1930"/>
                <a:gd name="T33" fmla="*/ 17 h 464"/>
                <a:gd name="T34" fmla="*/ 1930 w 1930"/>
                <a:gd name="T35" fmla="*/ 20 h 464"/>
                <a:gd name="T36" fmla="*/ 1930 w 1930"/>
                <a:gd name="T37" fmla="*/ 25 h 464"/>
                <a:gd name="T38" fmla="*/ 1930 w 1930"/>
                <a:gd name="T39" fmla="*/ 28 h 464"/>
                <a:gd name="T40" fmla="*/ 1930 w 1930"/>
                <a:gd name="T41" fmla="*/ 32 h 464"/>
                <a:gd name="T42" fmla="*/ 1930 w 1930"/>
                <a:gd name="T43" fmla="*/ 37 h 464"/>
                <a:gd name="T44" fmla="*/ 1930 w 1930"/>
                <a:gd name="T45" fmla="*/ 39 h 464"/>
                <a:gd name="T46" fmla="*/ 1930 w 1930"/>
                <a:gd name="T47" fmla="*/ 44 h 464"/>
                <a:gd name="T48" fmla="*/ 1930 w 1930"/>
                <a:gd name="T49" fmla="*/ 47 h 464"/>
                <a:gd name="T50" fmla="*/ 1930 w 1930"/>
                <a:gd name="T51" fmla="*/ 51 h 464"/>
                <a:gd name="T52" fmla="*/ 1930 w 1930"/>
                <a:gd name="T53" fmla="*/ 55 h 464"/>
                <a:gd name="T54" fmla="*/ 1930 w 1930"/>
                <a:gd name="T55" fmla="*/ 59 h 464"/>
                <a:gd name="T56" fmla="*/ 1930 w 1930"/>
                <a:gd name="T57" fmla="*/ 61 h 464"/>
                <a:gd name="T58" fmla="*/ 1930 w 1930"/>
                <a:gd name="T59" fmla="*/ 67 h 464"/>
                <a:gd name="T60" fmla="*/ 1930 w 1930"/>
                <a:gd name="T61" fmla="*/ 70 h 464"/>
                <a:gd name="T62" fmla="*/ 1930 w 1930"/>
                <a:gd name="T63" fmla="*/ 73 h 464"/>
                <a:gd name="T64" fmla="*/ 1930 w 1930"/>
                <a:gd name="T65" fmla="*/ 77 h 464"/>
                <a:gd name="T66" fmla="*/ 1930 w 1930"/>
                <a:gd name="T67" fmla="*/ 81 h 464"/>
                <a:gd name="T68" fmla="*/ 1930 w 1930"/>
                <a:gd name="T69" fmla="*/ 85 h 464"/>
                <a:gd name="T70" fmla="*/ 1930 w 1930"/>
                <a:gd name="T71" fmla="*/ 89 h 464"/>
                <a:gd name="T72" fmla="*/ 1930 w 1930"/>
                <a:gd name="T73" fmla="*/ 93 h 464"/>
                <a:gd name="T74" fmla="*/ 1930 w 1930"/>
                <a:gd name="T75" fmla="*/ 95 h 464"/>
                <a:gd name="T76" fmla="*/ 1930 w 1930"/>
                <a:gd name="T77" fmla="*/ 101 h 464"/>
                <a:gd name="T78" fmla="*/ 1930 w 1930"/>
                <a:gd name="T79" fmla="*/ 103 h 464"/>
                <a:gd name="T80" fmla="*/ 1930 w 1930"/>
                <a:gd name="T81" fmla="*/ 107 h 464"/>
                <a:gd name="T82" fmla="*/ 1930 w 1930"/>
                <a:gd name="T83" fmla="*/ 113 h 464"/>
                <a:gd name="T84" fmla="*/ 1930 w 1930"/>
                <a:gd name="T85" fmla="*/ 115 h 464"/>
                <a:gd name="T86" fmla="*/ 1930 w 1930"/>
                <a:gd name="T87" fmla="*/ 118 h 464"/>
                <a:gd name="T88" fmla="*/ 1930 w 1930"/>
                <a:gd name="T89" fmla="*/ 123 h 464"/>
                <a:gd name="T90" fmla="*/ 1930 w 1930"/>
                <a:gd name="T91" fmla="*/ 127 h 464"/>
                <a:gd name="T92" fmla="*/ 1930 w 1930"/>
                <a:gd name="T93" fmla="*/ 130 h 464"/>
                <a:gd name="T94" fmla="*/ 62 w 1930"/>
                <a:gd name="T95" fmla="*/ 464 h 464"/>
                <a:gd name="T96" fmla="*/ 10 w 1930"/>
                <a:gd name="T97" fmla="*/ 453 h 464"/>
                <a:gd name="T98" fmla="*/ 78 w 1930"/>
                <a:gd name="T99" fmla="*/ 443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930" h="464">
                  <a:moveTo>
                    <a:pt x="1402" y="130"/>
                  </a:moveTo>
                  <a:lnTo>
                    <a:pt x="1414" y="115"/>
                  </a:lnTo>
                  <a:lnTo>
                    <a:pt x="1426" y="101"/>
                  </a:lnTo>
                  <a:lnTo>
                    <a:pt x="1437" y="88"/>
                  </a:lnTo>
                  <a:lnTo>
                    <a:pt x="1449" y="76"/>
                  </a:lnTo>
                  <a:lnTo>
                    <a:pt x="1461" y="66"/>
                  </a:lnTo>
                  <a:lnTo>
                    <a:pt x="1473" y="55"/>
                  </a:lnTo>
                  <a:lnTo>
                    <a:pt x="1485" y="46"/>
                  </a:lnTo>
                  <a:lnTo>
                    <a:pt x="1497" y="38"/>
                  </a:lnTo>
                  <a:lnTo>
                    <a:pt x="1510" y="29"/>
                  </a:lnTo>
                  <a:lnTo>
                    <a:pt x="1522" y="22"/>
                  </a:lnTo>
                  <a:lnTo>
                    <a:pt x="1535" y="17"/>
                  </a:lnTo>
                  <a:lnTo>
                    <a:pt x="1547" y="12"/>
                  </a:lnTo>
                  <a:lnTo>
                    <a:pt x="1560" y="7"/>
                  </a:lnTo>
                  <a:lnTo>
                    <a:pt x="1573" y="4"/>
                  </a:lnTo>
                  <a:lnTo>
                    <a:pt x="1587" y="1"/>
                  </a:lnTo>
                  <a:lnTo>
                    <a:pt x="1600" y="0"/>
                  </a:lnTo>
                  <a:lnTo>
                    <a:pt x="1641" y="0"/>
                  </a:lnTo>
                  <a:lnTo>
                    <a:pt x="1682" y="0"/>
                  </a:lnTo>
                  <a:lnTo>
                    <a:pt x="1724" y="0"/>
                  </a:lnTo>
                  <a:lnTo>
                    <a:pt x="1765" y="0"/>
                  </a:lnTo>
                  <a:lnTo>
                    <a:pt x="1806" y="0"/>
                  </a:lnTo>
                  <a:lnTo>
                    <a:pt x="1847" y="0"/>
                  </a:lnTo>
                  <a:lnTo>
                    <a:pt x="1889" y="0"/>
                  </a:lnTo>
                  <a:lnTo>
                    <a:pt x="1930" y="0"/>
                  </a:lnTo>
                  <a:lnTo>
                    <a:pt x="1930" y="3"/>
                  </a:lnTo>
                  <a:lnTo>
                    <a:pt x="1930" y="4"/>
                  </a:lnTo>
                  <a:lnTo>
                    <a:pt x="1930" y="6"/>
                  </a:lnTo>
                  <a:lnTo>
                    <a:pt x="1930" y="8"/>
                  </a:lnTo>
                  <a:lnTo>
                    <a:pt x="1930" y="10"/>
                  </a:lnTo>
                  <a:lnTo>
                    <a:pt x="1930" y="11"/>
                  </a:lnTo>
                  <a:lnTo>
                    <a:pt x="1930" y="14"/>
                  </a:lnTo>
                  <a:lnTo>
                    <a:pt x="1930" y="14"/>
                  </a:lnTo>
                  <a:lnTo>
                    <a:pt x="1930" y="17"/>
                  </a:lnTo>
                  <a:lnTo>
                    <a:pt x="1930" y="20"/>
                  </a:lnTo>
                  <a:lnTo>
                    <a:pt x="1930" y="20"/>
                  </a:lnTo>
                  <a:lnTo>
                    <a:pt x="1930" y="22"/>
                  </a:lnTo>
                  <a:lnTo>
                    <a:pt x="1930" y="25"/>
                  </a:lnTo>
                  <a:lnTo>
                    <a:pt x="1930" y="26"/>
                  </a:lnTo>
                  <a:lnTo>
                    <a:pt x="1930" y="28"/>
                  </a:lnTo>
                  <a:lnTo>
                    <a:pt x="1930" y="31"/>
                  </a:lnTo>
                  <a:lnTo>
                    <a:pt x="1930" y="32"/>
                  </a:lnTo>
                  <a:lnTo>
                    <a:pt x="1930" y="34"/>
                  </a:lnTo>
                  <a:lnTo>
                    <a:pt x="1930" y="37"/>
                  </a:lnTo>
                  <a:lnTo>
                    <a:pt x="1930" y="38"/>
                  </a:lnTo>
                  <a:lnTo>
                    <a:pt x="1930" y="39"/>
                  </a:lnTo>
                  <a:lnTo>
                    <a:pt x="1930" y="42"/>
                  </a:lnTo>
                  <a:lnTo>
                    <a:pt x="1930" y="44"/>
                  </a:lnTo>
                  <a:lnTo>
                    <a:pt x="1930" y="45"/>
                  </a:lnTo>
                  <a:lnTo>
                    <a:pt x="1930" y="47"/>
                  </a:lnTo>
                  <a:lnTo>
                    <a:pt x="1930" y="49"/>
                  </a:lnTo>
                  <a:lnTo>
                    <a:pt x="1930" y="51"/>
                  </a:lnTo>
                  <a:lnTo>
                    <a:pt x="1930" y="53"/>
                  </a:lnTo>
                  <a:lnTo>
                    <a:pt x="1930" y="55"/>
                  </a:lnTo>
                  <a:lnTo>
                    <a:pt x="1930" y="56"/>
                  </a:lnTo>
                  <a:lnTo>
                    <a:pt x="1930" y="59"/>
                  </a:lnTo>
                  <a:lnTo>
                    <a:pt x="1930" y="61"/>
                  </a:lnTo>
                  <a:lnTo>
                    <a:pt x="1930" y="61"/>
                  </a:lnTo>
                  <a:lnTo>
                    <a:pt x="1930" y="65"/>
                  </a:lnTo>
                  <a:lnTo>
                    <a:pt x="1930" y="67"/>
                  </a:lnTo>
                  <a:lnTo>
                    <a:pt x="1930" y="67"/>
                  </a:lnTo>
                  <a:lnTo>
                    <a:pt x="1930" y="70"/>
                  </a:lnTo>
                  <a:lnTo>
                    <a:pt x="1930" y="72"/>
                  </a:lnTo>
                  <a:lnTo>
                    <a:pt x="1930" y="73"/>
                  </a:lnTo>
                  <a:lnTo>
                    <a:pt x="1930" y="75"/>
                  </a:lnTo>
                  <a:lnTo>
                    <a:pt x="1930" y="77"/>
                  </a:lnTo>
                  <a:lnTo>
                    <a:pt x="1930" y="79"/>
                  </a:lnTo>
                  <a:lnTo>
                    <a:pt x="1930" y="81"/>
                  </a:lnTo>
                  <a:lnTo>
                    <a:pt x="1930" y="83"/>
                  </a:lnTo>
                  <a:lnTo>
                    <a:pt x="1930" y="85"/>
                  </a:lnTo>
                  <a:lnTo>
                    <a:pt x="1930" y="87"/>
                  </a:lnTo>
                  <a:lnTo>
                    <a:pt x="1930" y="89"/>
                  </a:lnTo>
                  <a:lnTo>
                    <a:pt x="1930" y="89"/>
                  </a:lnTo>
                  <a:lnTo>
                    <a:pt x="1930" y="93"/>
                  </a:lnTo>
                  <a:lnTo>
                    <a:pt x="1930" y="95"/>
                  </a:lnTo>
                  <a:lnTo>
                    <a:pt x="1930" y="95"/>
                  </a:lnTo>
                  <a:lnTo>
                    <a:pt x="1930" y="99"/>
                  </a:lnTo>
                  <a:lnTo>
                    <a:pt x="1930" y="101"/>
                  </a:lnTo>
                  <a:lnTo>
                    <a:pt x="1930" y="101"/>
                  </a:lnTo>
                  <a:lnTo>
                    <a:pt x="1930" y="103"/>
                  </a:lnTo>
                  <a:lnTo>
                    <a:pt x="1930" y="107"/>
                  </a:lnTo>
                  <a:lnTo>
                    <a:pt x="1930" y="107"/>
                  </a:lnTo>
                  <a:lnTo>
                    <a:pt x="1930" y="109"/>
                  </a:lnTo>
                  <a:lnTo>
                    <a:pt x="1930" y="113"/>
                  </a:lnTo>
                  <a:lnTo>
                    <a:pt x="1930" y="113"/>
                  </a:lnTo>
                  <a:lnTo>
                    <a:pt x="1930" y="115"/>
                  </a:lnTo>
                  <a:lnTo>
                    <a:pt x="1930" y="117"/>
                  </a:lnTo>
                  <a:lnTo>
                    <a:pt x="1930" y="118"/>
                  </a:lnTo>
                  <a:lnTo>
                    <a:pt x="1930" y="121"/>
                  </a:lnTo>
                  <a:lnTo>
                    <a:pt x="1930" y="123"/>
                  </a:lnTo>
                  <a:lnTo>
                    <a:pt x="1930" y="124"/>
                  </a:lnTo>
                  <a:lnTo>
                    <a:pt x="1930" y="127"/>
                  </a:lnTo>
                  <a:lnTo>
                    <a:pt x="1930" y="129"/>
                  </a:lnTo>
                  <a:lnTo>
                    <a:pt x="1930" y="130"/>
                  </a:lnTo>
                  <a:lnTo>
                    <a:pt x="1402" y="130"/>
                  </a:lnTo>
                  <a:close/>
                  <a:moveTo>
                    <a:pt x="62" y="464"/>
                  </a:moveTo>
                  <a:lnTo>
                    <a:pt x="0" y="464"/>
                  </a:lnTo>
                  <a:lnTo>
                    <a:pt x="10" y="453"/>
                  </a:lnTo>
                  <a:lnTo>
                    <a:pt x="19" y="443"/>
                  </a:lnTo>
                  <a:lnTo>
                    <a:pt x="78" y="443"/>
                  </a:lnTo>
                  <a:lnTo>
                    <a:pt x="62" y="464"/>
                  </a:ln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7" name="Freeform 97"/>
            <p:cNvSpPr>
              <a:spLocks/>
            </p:cNvSpPr>
            <p:nvPr userDrawn="1"/>
          </p:nvSpPr>
          <p:spPr bwMode="auto">
            <a:xfrm>
              <a:off x="11005785" y="5041905"/>
              <a:ext cx="111369" cy="11113"/>
            </a:xfrm>
            <a:custGeom>
              <a:avLst/>
              <a:gdLst>
                <a:gd name="T0" fmla="*/ 149 w 170"/>
                <a:gd name="T1" fmla="*/ 21 h 21"/>
                <a:gd name="T2" fmla="*/ 0 w 170"/>
                <a:gd name="T3" fmla="*/ 21 h 21"/>
                <a:gd name="T4" fmla="*/ 9 w 170"/>
                <a:gd name="T5" fmla="*/ 10 h 21"/>
                <a:gd name="T6" fmla="*/ 20 w 170"/>
                <a:gd name="T7" fmla="*/ 0 h 21"/>
                <a:gd name="T8" fmla="*/ 170 w 170"/>
                <a:gd name="T9" fmla="*/ 0 h 21"/>
                <a:gd name="T10" fmla="*/ 160 w 170"/>
                <a:gd name="T11" fmla="*/ 10 h 21"/>
                <a:gd name="T12" fmla="*/ 149 w 170"/>
                <a:gd name="T13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0" h="21">
                  <a:moveTo>
                    <a:pt x="149" y="21"/>
                  </a:moveTo>
                  <a:lnTo>
                    <a:pt x="0" y="21"/>
                  </a:lnTo>
                  <a:lnTo>
                    <a:pt x="9" y="10"/>
                  </a:lnTo>
                  <a:lnTo>
                    <a:pt x="20" y="0"/>
                  </a:lnTo>
                  <a:lnTo>
                    <a:pt x="170" y="0"/>
                  </a:lnTo>
                  <a:lnTo>
                    <a:pt x="160" y="10"/>
                  </a:lnTo>
                  <a:lnTo>
                    <a:pt x="149" y="21"/>
                  </a:ln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8" name="Freeform 98"/>
            <p:cNvSpPr>
              <a:spLocks/>
            </p:cNvSpPr>
            <p:nvPr userDrawn="1"/>
          </p:nvSpPr>
          <p:spPr bwMode="auto">
            <a:xfrm>
              <a:off x="9890140" y="4857750"/>
              <a:ext cx="1838569" cy="217488"/>
            </a:xfrm>
            <a:custGeom>
              <a:avLst/>
              <a:gdLst>
                <a:gd name="T0" fmla="*/ 2374 w 2823"/>
                <a:gd name="T1" fmla="*/ 390 h 410"/>
                <a:gd name="T2" fmla="*/ 2385 w 2823"/>
                <a:gd name="T3" fmla="*/ 390 h 410"/>
                <a:gd name="T4" fmla="*/ 2397 w 2823"/>
                <a:gd name="T5" fmla="*/ 390 h 410"/>
                <a:gd name="T6" fmla="*/ 2425 w 2823"/>
                <a:gd name="T7" fmla="*/ 390 h 410"/>
                <a:gd name="T8" fmla="*/ 2451 w 2823"/>
                <a:gd name="T9" fmla="*/ 388 h 410"/>
                <a:gd name="T10" fmla="*/ 2474 w 2823"/>
                <a:gd name="T11" fmla="*/ 384 h 410"/>
                <a:gd name="T12" fmla="*/ 2497 w 2823"/>
                <a:gd name="T13" fmla="*/ 379 h 410"/>
                <a:gd name="T14" fmla="*/ 2506 w 2823"/>
                <a:gd name="T15" fmla="*/ 376 h 410"/>
                <a:gd name="T16" fmla="*/ 2515 w 2823"/>
                <a:gd name="T17" fmla="*/ 372 h 410"/>
                <a:gd name="T18" fmla="*/ 2525 w 2823"/>
                <a:gd name="T19" fmla="*/ 368 h 410"/>
                <a:gd name="T20" fmla="*/ 2533 w 2823"/>
                <a:gd name="T21" fmla="*/ 363 h 410"/>
                <a:gd name="T22" fmla="*/ 2541 w 2823"/>
                <a:gd name="T23" fmla="*/ 358 h 410"/>
                <a:gd name="T24" fmla="*/ 2549 w 2823"/>
                <a:gd name="T25" fmla="*/ 352 h 410"/>
                <a:gd name="T26" fmla="*/ 2555 w 2823"/>
                <a:gd name="T27" fmla="*/ 346 h 410"/>
                <a:gd name="T28" fmla="*/ 2562 w 2823"/>
                <a:gd name="T29" fmla="*/ 340 h 410"/>
                <a:gd name="T30" fmla="*/ 2595 w 2823"/>
                <a:gd name="T31" fmla="*/ 297 h 410"/>
                <a:gd name="T32" fmla="*/ 2628 w 2823"/>
                <a:gd name="T33" fmla="*/ 254 h 410"/>
                <a:gd name="T34" fmla="*/ 2660 w 2823"/>
                <a:gd name="T35" fmla="*/ 212 h 410"/>
                <a:gd name="T36" fmla="*/ 2692 w 2823"/>
                <a:gd name="T37" fmla="*/ 170 h 410"/>
                <a:gd name="T38" fmla="*/ 2725 w 2823"/>
                <a:gd name="T39" fmla="*/ 128 h 410"/>
                <a:gd name="T40" fmla="*/ 2757 w 2823"/>
                <a:gd name="T41" fmla="*/ 86 h 410"/>
                <a:gd name="T42" fmla="*/ 2790 w 2823"/>
                <a:gd name="T43" fmla="*/ 43 h 410"/>
                <a:gd name="T44" fmla="*/ 2823 w 2823"/>
                <a:gd name="T45" fmla="*/ 0 h 410"/>
                <a:gd name="T46" fmla="*/ 2823 w 2823"/>
                <a:gd name="T47" fmla="*/ 28 h 410"/>
                <a:gd name="T48" fmla="*/ 2823 w 2823"/>
                <a:gd name="T49" fmla="*/ 55 h 410"/>
                <a:gd name="T50" fmla="*/ 2823 w 2823"/>
                <a:gd name="T51" fmla="*/ 82 h 410"/>
                <a:gd name="T52" fmla="*/ 2823 w 2823"/>
                <a:gd name="T53" fmla="*/ 110 h 410"/>
                <a:gd name="T54" fmla="*/ 2823 w 2823"/>
                <a:gd name="T55" fmla="*/ 137 h 410"/>
                <a:gd name="T56" fmla="*/ 2823 w 2823"/>
                <a:gd name="T57" fmla="*/ 164 h 410"/>
                <a:gd name="T58" fmla="*/ 2823 w 2823"/>
                <a:gd name="T59" fmla="*/ 192 h 410"/>
                <a:gd name="T60" fmla="*/ 2823 w 2823"/>
                <a:gd name="T61" fmla="*/ 219 h 410"/>
                <a:gd name="T62" fmla="*/ 2804 w 2823"/>
                <a:gd name="T63" fmla="*/ 245 h 410"/>
                <a:gd name="T64" fmla="*/ 2786 w 2823"/>
                <a:gd name="T65" fmla="*/ 270 h 410"/>
                <a:gd name="T66" fmla="*/ 2768 w 2823"/>
                <a:gd name="T67" fmla="*/ 294 h 410"/>
                <a:gd name="T68" fmla="*/ 2749 w 2823"/>
                <a:gd name="T69" fmla="*/ 320 h 410"/>
                <a:gd name="T70" fmla="*/ 2738 w 2823"/>
                <a:gd name="T71" fmla="*/ 333 h 410"/>
                <a:gd name="T72" fmla="*/ 2727 w 2823"/>
                <a:gd name="T73" fmla="*/ 345 h 410"/>
                <a:gd name="T74" fmla="*/ 2717 w 2823"/>
                <a:gd name="T75" fmla="*/ 355 h 410"/>
                <a:gd name="T76" fmla="*/ 2705 w 2823"/>
                <a:gd name="T77" fmla="*/ 365 h 410"/>
                <a:gd name="T78" fmla="*/ 2694 w 2823"/>
                <a:gd name="T79" fmla="*/ 373 h 410"/>
                <a:gd name="T80" fmla="*/ 2683 w 2823"/>
                <a:gd name="T81" fmla="*/ 380 h 410"/>
                <a:gd name="T82" fmla="*/ 2672 w 2823"/>
                <a:gd name="T83" fmla="*/ 387 h 410"/>
                <a:gd name="T84" fmla="*/ 2660 w 2823"/>
                <a:gd name="T85" fmla="*/ 393 h 410"/>
                <a:gd name="T86" fmla="*/ 2649 w 2823"/>
                <a:gd name="T87" fmla="*/ 397 h 410"/>
                <a:gd name="T88" fmla="*/ 2637 w 2823"/>
                <a:gd name="T89" fmla="*/ 401 h 410"/>
                <a:gd name="T90" fmla="*/ 2625 w 2823"/>
                <a:gd name="T91" fmla="*/ 404 h 410"/>
                <a:gd name="T92" fmla="*/ 2614 w 2823"/>
                <a:gd name="T93" fmla="*/ 407 h 410"/>
                <a:gd name="T94" fmla="*/ 2590 w 2823"/>
                <a:gd name="T95" fmla="*/ 409 h 410"/>
                <a:gd name="T96" fmla="*/ 2567 w 2823"/>
                <a:gd name="T97" fmla="*/ 410 h 410"/>
                <a:gd name="T98" fmla="*/ 2523 w 2823"/>
                <a:gd name="T99" fmla="*/ 410 h 410"/>
                <a:gd name="T100" fmla="*/ 2481 w 2823"/>
                <a:gd name="T101" fmla="*/ 410 h 410"/>
                <a:gd name="T102" fmla="*/ 2439 w 2823"/>
                <a:gd name="T103" fmla="*/ 410 h 410"/>
                <a:gd name="T104" fmla="*/ 2397 w 2823"/>
                <a:gd name="T105" fmla="*/ 410 h 410"/>
                <a:gd name="T106" fmla="*/ 2387 w 2823"/>
                <a:gd name="T107" fmla="*/ 410 h 410"/>
                <a:gd name="T108" fmla="*/ 2375 w 2823"/>
                <a:gd name="T109" fmla="*/ 410 h 410"/>
                <a:gd name="T110" fmla="*/ 0 w 2823"/>
                <a:gd name="T111" fmla="*/ 410 h 410"/>
                <a:gd name="T112" fmla="*/ 17 w 2823"/>
                <a:gd name="T113" fmla="*/ 390 h 410"/>
                <a:gd name="T114" fmla="*/ 2374 w 2823"/>
                <a:gd name="T115" fmla="*/ 390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23" h="410">
                  <a:moveTo>
                    <a:pt x="2374" y="390"/>
                  </a:moveTo>
                  <a:lnTo>
                    <a:pt x="2385" y="390"/>
                  </a:lnTo>
                  <a:lnTo>
                    <a:pt x="2397" y="390"/>
                  </a:lnTo>
                  <a:lnTo>
                    <a:pt x="2425" y="390"/>
                  </a:lnTo>
                  <a:lnTo>
                    <a:pt x="2451" y="388"/>
                  </a:lnTo>
                  <a:lnTo>
                    <a:pt x="2474" y="384"/>
                  </a:lnTo>
                  <a:lnTo>
                    <a:pt x="2497" y="379"/>
                  </a:lnTo>
                  <a:lnTo>
                    <a:pt x="2506" y="376"/>
                  </a:lnTo>
                  <a:lnTo>
                    <a:pt x="2515" y="372"/>
                  </a:lnTo>
                  <a:lnTo>
                    <a:pt x="2525" y="368"/>
                  </a:lnTo>
                  <a:lnTo>
                    <a:pt x="2533" y="363"/>
                  </a:lnTo>
                  <a:lnTo>
                    <a:pt x="2541" y="358"/>
                  </a:lnTo>
                  <a:lnTo>
                    <a:pt x="2549" y="352"/>
                  </a:lnTo>
                  <a:lnTo>
                    <a:pt x="2555" y="346"/>
                  </a:lnTo>
                  <a:lnTo>
                    <a:pt x="2562" y="340"/>
                  </a:lnTo>
                  <a:lnTo>
                    <a:pt x="2595" y="297"/>
                  </a:lnTo>
                  <a:lnTo>
                    <a:pt x="2628" y="254"/>
                  </a:lnTo>
                  <a:lnTo>
                    <a:pt x="2660" y="212"/>
                  </a:lnTo>
                  <a:lnTo>
                    <a:pt x="2692" y="170"/>
                  </a:lnTo>
                  <a:lnTo>
                    <a:pt x="2725" y="128"/>
                  </a:lnTo>
                  <a:lnTo>
                    <a:pt x="2757" y="86"/>
                  </a:lnTo>
                  <a:lnTo>
                    <a:pt x="2790" y="43"/>
                  </a:lnTo>
                  <a:lnTo>
                    <a:pt x="2823" y="0"/>
                  </a:lnTo>
                  <a:lnTo>
                    <a:pt x="2823" y="28"/>
                  </a:lnTo>
                  <a:lnTo>
                    <a:pt x="2823" y="55"/>
                  </a:lnTo>
                  <a:lnTo>
                    <a:pt x="2823" y="82"/>
                  </a:lnTo>
                  <a:lnTo>
                    <a:pt x="2823" y="110"/>
                  </a:lnTo>
                  <a:lnTo>
                    <a:pt x="2823" y="137"/>
                  </a:lnTo>
                  <a:lnTo>
                    <a:pt x="2823" y="164"/>
                  </a:lnTo>
                  <a:lnTo>
                    <a:pt x="2823" y="192"/>
                  </a:lnTo>
                  <a:lnTo>
                    <a:pt x="2823" y="219"/>
                  </a:lnTo>
                  <a:lnTo>
                    <a:pt x="2804" y="245"/>
                  </a:lnTo>
                  <a:lnTo>
                    <a:pt x="2786" y="270"/>
                  </a:lnTo>
                  <a:lnTo>
                    <a:pt x="2768" y="294"/>
                  </a:lnTo>
                  <a:lnTo>
                    <a:pt x="2749" y="320"/>
                  </a:lnTo>
                  <a:lnTo>
                    <a:pt x="2738" y="333"/>
                  </a:lnTo>
                  <a:lnTo>
                    <a:pt x="2727" y="345"/>
                  </a:lnTo>
                  <a:lnTo>
                    <a:pt x="2717" y="355"/>
                  </a:lnTo>
                  <a:lnTo>
                    <a:pt x="2705" y="365"/>
                  </a:lnTo>
                  <a:lnTo>
                    <a:pt x="2694" y="373"/>
                  </a:lnTo>
                  <a:lnTo>
                    <a:pt x="2683" y="380"/>
                  </a:lnTo>
                  <a:lnTo>
                    <a:pt x="2672" y="387"/>
                  </a:lnTo>
                  <a:lnTo>
                    <a:pt x="2660" y="393"/>
                  </a:lnTo>
                  <a:lnTo>
                    <a:pt x="2649" y="397"/>
                  </a:lnTo>
                  <a:lnTo>
                    <a:pt x="2637" y="401"/>
                  </a:lnTo>
                  <a:lnTo>
                    <a:pt x="2625" y="404"/>
                  </a:lnTo>
                  <a:lnTo>
                    <a:pt x="2614" y="407"/>
                  </a:lnTo>
                  <a:lnTo>
                    <a:pt x="2590" y="409"/>
                  </a:lnTo>
                  <a:lnTo>
                    <a:pt x="2567" y="410"/>
                  </a:lnTo>
                  <a:lnTo>
                    <a:pt x="2523" y="410"/>
                  </a:lnTo>
                  <a:lnTo>
                    <a:pt x="2481" y="410"/>
                  </a:lnTo>
                  <a:lnTo>
                    <a:pt x="2439" y="410"/>
                  </a:lnTo>
                  <a:lnTo>
                    <a:pt x="2397" y="410"/>
                  </a:lnTo>
                  <a:lnTo>
                    <a:pt x="2387" y="410"/>
                  </a:lnTo>
                  <a:lnTo>
                    <a:pt x="2375" y="410"/>
                  </a:lnTo>
                  <a:lnTo>
                    <a:pt x="0" y="410"/>
                  </a:lnTo>
                  <a:lnTo>
                    <a:pt x="17" y="390"/>
                  </a:lnTo>
                  <a:lnTo>
                    <a:pt x="2374" y="39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19" name="Номер слайда 23"/>
          <p:cNvSpPr>
            <a:spLocks noGrp="1"/>
          </p:cNvSpPr>
          <p:nvPr userDrawn="1">
            <p:ph type="sldNum" sz="quarter" idx="4"/>
          </p:nvPr>
        </p:nvSpPr>
        <p:spPr>
          <a:xfrm>
            <a:off x="8354516" y="4815046"/>
            <a:ext cx="576064" cy="267494"/>
          </a:xfrm>
          <a:prstGeom prst="rect">
            <a:avLst/>
          </a:prstGeom>
        </p:spPr>
        <p:txBody>
          <a:bodyPr/>
          <a:lstStyle>
            <a:lvl1pPr marL="0" algn="r" defTabSz="519371" rtl="0" eaLnBrk="1" latinLnBrk="0" hangingPunct="1">
              <a:defRPr lang="ru-RU" sz="1400" b="1" kern="1200" smtClean="0">
                <a:solidFill>
                  <a:srgbClr val="E21A1A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97AB2056-D4F9-4782-8969-B182112ED6BA}" type="slidenum">
              <a:rPr/>
              <a:pPr>
                <a:defRPr/>
              </a:pPr>
              <a:t>‹#›</a:t>
            </a:fld>
            <a:endParaRPr dirty="0"/>
          </a:p>
        </p:txBody>
      </p:sp>
      <p:cxnSp>
        <p:nvCxnSpPr>
          <p:cNvPr id="20" name="Прямая соединительная линия 19"/>
          <p:cNvCxnSpPr/>
          <p:nvPr userDrawn="1"/>
        </p:nvCxnSpPr>
        <p:spPr>
          <a:xfrm>
            <a:off x="0" y="5088602"/>
            <a:ext cx="7740352" cy="0"/>
          </a:xfrm>
          <a:prstGeom prst="line">
            <a:avLst/>
          </a:prstGeom>
          <a:ln w="95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9"/>
          <p:cNvGrpSpPr>
            <a:grpSpLocks noChangeAspect="1"/>
          </p:cNvGrpSpPr>
          <p:nvPr userDrawn="1"/>
        </p:nvGrpSpPr>
        <p:grpSpPr bwMode="auto">
          <a:xfrm>
            <a:off x="7778452" y="4887818"/>
            <a:ext cx="520293" cy="231737"/>
            <a:chOff x="5121" y="2970"/>
            <a:chExt cx="467" cy="208"/>
          </a:xfrm>
        </p:grpSpPr>
        <p:sp>
          <p:nvSpPr>
            <p:cNvPr id="22" name="AutoShape 8"/>
            <p:cNvSpPr>
              <a:spLocks noChangeAspect="1" noChangeArrowheads="1" noTextEdit="1"/>
            </p:cNvSpPr>
            <p:nvPr userDrawn="1"/>
          </p:nvSpPr>
          <p:spPr bwMode="auto">
            <a:xfrm>
              <a:off x="5121" y="2970"/>
              <a:ext cx="467" cy="2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3" name="Freeform 10"/>
            <p:cNvSpPr>
              <a:spLocks/>
            </p:cNvSpPr>
            <p:nvPr userDrawn="1"/>
          </p:nvSpPr>
          <p:spPr bwMode="auto">
            <a:xfrm>
              <a:off x="5418" y="2970"/>
              <a:ext cx="170" cy="156"/>
            </a:xfrm>
            <a:custGeom>
              <a:avLst/>
              <a:gdLst/>
              <a:ahLst/>
              <a:cxnLst>
                <a:cxn ang="0">
                  <a:pos x="79" y="3361"/>
                </a:cxn>
                <a:cxn ang="0">
                  <a:pos x="0" y="3674"/>
                </a:cxn>
                <a:cxn ang="0">
                  <a:pos x="97" y="3969"/>
                </a:cxn>
                <a:cxn ang="0">
                  <a:pos x="482" y="4508"/>
                </a:cxn>
                <a:cxn ang="0">
                  <a:pos x="850" y="4974"/>
                </a:cxn>
                <a:cxn ang="0">
                  <a:pos x="1191" y="5261"/>
                </a:cxn>
                <a:cxn ang="0">
                  <a:pos x="1656" y="5422"/>
                </a:cxn>
                <a:cxn ang="0">
                  <a:pos x="2310" y="5462"/>
                </a:cxn>
                <a:cxn ang="0">
                  <a:pos x="2993" y="5462"/>
                </a:cxn>
                <a:cxn ang="0">
                  <a:pos x="3650" y="5459"/>
                </a:cxn>
                <a:cxn ang="0">
                  <a:pos x="4228" y="5420"/>
                </a:cxn>
                <a:cxn ang="0">
                  <a:pos x="4750" y="5296"/>
                </a:cxn>
                <a:cxn ang="0">
                  <a:pos x="5221" y="5040"/>
                </a:cxn>
                <a:cxn ang="0">
                  <a:pos x="5625" y="4619"/>
                </a:cxn>
                <a:cxn ang="0">
                  <a:pos x="5856" y="4092"/>
                </a:cxn>
                <a:cxn ang="0">
                  <a:pos x="5949" y="3502"/>
                </a:cxn>
                <a:cxn ang="0">
                  <a:pos x="5965" y="2673"/>
                </a:cxn>
                <a:cxn ang="0">
                  <a:pos x="5953" y="1969"/>
                </a:cxn>
                <a:cxn ang="0">
                  <a:pos x="5900" y="1557"/>
                </a:cxn>
                <a:cxn ang="0">
                  <a:pos x="5817" y="1258"/>
                </a:cxn>
                <a:cxn ang="0">
                  <a:pos x="5711" y="1009"/>
                </a:cxn>
                <a:cxn ang="0">
                  <a:pos x="5577" y="788"/>
                </a:cxn>
                <a:cxn ang="0">
                  <a:pos x="5426" y="601"/>
                </a:cxn>
                <a:cxn ang="0">
                  <a:pos x="5222" y="427"/>
                </a:cxn>
                <a:cxn ang="0">
                  <a:pos x="4725" y="164"/>
                </a:cxn>
                <a:cxn ang="0">
                  <a:pos x="4192" y="42"/>
                </a:cxn>
                <a:cxn ang="0">
                  <a:pos x="3519" y="6"/>
                </a:cxn>
                <a:cxn ang="0">
                  <a:pos x="2584" y="6"/>
                </a:cxn>
                <a:cxn ang="0">
                  <a:pos x="1910" y="0"/>
                </a:cxn>
                <a:cxn ang="0">
                  <a:pos x="1516" y="50"/>
                </a:cxn>
                <a:cxn ang="0">
                  <a:pos x="1257" y="281"/>
                </a:cxn>
                <a:cxn ang="0">
                  <a:pos x="1189" y="819"/>
                </a:cxn>
                <a:cxn ang="0">
                  <a:pos x="1864" y="922"/>
                </a:cxn>
                <a:cxn ang="0">
                  <a:pos x="2796" y="916"/>
                </a:cxn>
                <a:cxn ang="0">
                  <a:pos x="3419" y="904"/>
                </a:cxn>
                <a:cxn ang="0">
                  <a:pos x="3778" y="949"/>
                </a:cxn>
                <a:cxn ang="0">
                  <a:pos x="4036" y="1119"/>
                </a:cxn>
                <a:cxn ang="0">
                  <a:pos x="4135" y="1424"/>
                </a:cxn>
                <a:cxn ang="0">
                  <a:pos x="4152" y="2297"/>
                </a:cxn>
                <a:cxn ang="0">
                  <a:pos x="4147" y="3711"/>
                </a:cxn>
                <a:cxn ang="0">
                  <a:pos x="4132" y="4095"/>
                </a:cxn>
                <a:cxn ang="0">
                  <a:pos x="4091" y="4254"/>
                </a:cxn>
                <a:cxn ang="0">
                  <a:pos x="4005" y="4389"/>
                </a:cxn>
                <a:cxn ang="0">
                  <a:pos x="3868" y="4485"/>
                </a:cxn>
                <a:cxn ang="0">
                  <a:pos x="3677" y="4536"/>
                </a:cxn>
                <a:cxn ang="0">
                  <a:pos x="3291" y="4549"/>
                </a:cxn>
                <a:cxn ang="0">
                  <a:pos x="2883" y="4549"/>
                </a:cxn>
                <a:cxn ang="0">
                  <a:pos x="2471" y="4549"/>
                </a:cxn>
                <a:cxn ang="0">
                  <a:pos x="2113" y="4531"/>
                </a:cxn>
                <a:cxn ang="0">
                  <a:pos x="1961" y="4478"/>
                </a:cxn>
                <a:cxn ang="0">
                  <a:pos x="1854" y="4369"/>
                </a:cxn>
                <a:cxn ang="0">
                  <a:pos x="1809" y="4203"/>
                </a:cxn>
                <a:cxn ang="0">
                  <a:pos x="1842" y="4039"/>
                </a:cxn>
                <a:cxn ang="0">
                  <a:pos x="2001" y="3781"/>
                </a:cxn>
                <a:cxn ang="0">
                  <a:pos x="3248" y="2121"/>
                </a:cxn>
                <a:cxn ang="0">
                  <a:pos x="3426" y="1883"/>
                </a:cxn>
              </a:cxnLst>
              <a:rect l="0" t="0" r="r" b="b"/>
              <a:pathLst>
                <a:path w="5966" h="5463">
                  <a:moveTo>
                    <a:pt x="308" y="3008"/>
                  </a:moveTo>
                  <a:lnTo>
                    <a:pt x="265" y="3065"/>
                  </a:lnTo>
                  <a:lnTo>
                    <a:pt x="226" y="3121"/>
                  </a:lnTo>
                  <a:lnTo>
                    <a:pt x="190" y="3173"/>
                  </a:lnTo>
                  <a:lnTo>
                    <a:pt x="157" y="3223"/>
                  </a:lnTo>
                  <a:lnTo>
                    <a:pt x="128" y="3271"/>
                  </a:lnTo>
                  <a:lnTo>
                    <a:pt x="102" y="3317"/>
                  </a:lnTo>
                  <a:lnTo>
                    <a:pt x="79" y="3361"/>
                  </a:lnTo>
                  <a:lnTo>
                    <a:pt x="58" y="3404"/>
                  </a:lnTo>
                  <a:lnTo>
                    <a:pt x="42" y="3446"/>
                  </a:lnTo>
                  <a:lnTo>
                    <a:pt x="28" y="3486"/>
                  </a:lnTo>
                  <a:lnTo>
                    <a:pt x="16" y="3525"/>
                  </a:lnTo>
                  <a:lnTo>
                    <a:pt x="8" y="3563"/>
                  </a:lnTo>
                  <a:lnTo>
                    <a:pt x="3" y="3601"/>
                  </a:lnTo>
                  <a:lnTo>
                    <a:pt x="0" y="3637"/>
                  </a:lnTo>
                  <a:lnTo>
                    <a:pt x="0" y="3674"/>
                  </a:lnTo>
                  <a:lnTo>
                    <a:pt x="3" y="3710"/>
                  </a:lnTo>
                  <a:lnTo>
                    <a:pt x="9" y="3746"/>
                  </a:lnTo>
                  <a:lnTo>
                    <a:pt x="17" y="3782"/>
                  </a:lnTo>
                  <a:lnTo>
                    <a:pt x="29" y="3819"/>
                  </a:lnTo>
                  <a:lnTo>
                    <a:pt x="42" y="3855"/>
                  </a:lnTo>
                  <a:lnTo>
                    <a:pt x="58" y="3892"/>
                  </a:lnTo>
                  <a:lnTo>
                    <a:pt x="77" y="3930"/>
                  </a:lnTo>
                  <a:lnTo>
                    <a:pt x="97" y="3969"/>
                  </a:lnTo>
                  <a:lnTo>
                    <a:pt x="121" y="4009"/>
                  </a:lnTo>
                  <a:lnTo>
                    <a:pt x="146" y="4050"/>
                  </a:lnTo>
                  <a:lnTo>
                    <a:pt x="175" y="4092"/>
                  </a:lnTo>
                  <a:lnTo>
                    <a:pt x="204" y="4136"/>
                  </a:lnTo>
                  <a:lnTo>
                    <a:pt x="237" y="4182"/>
                  </a:lnTo>
                  <a:lnTo>
                    <a:pt x="309" y="4279"/>
                  </a:lnTo>
                  <a:lnTo>
                    <a:pt x="389" y="4385"/>
                  </a:lnTo>
                  <a:lnTo>
                    <a:pt x="482" y="4508"/>
                  </a:lnTo>
                  <a:lnTo>
                    <a:pt x="570" y="4625"/>
                  </a:lnTo>
                  <a:lnTo>
                    <a:pt x="611" y="4680"/>
                  </a:lnTo>
                  <a:lnTo>
                    <a:pt x="652" y="4735"/>
                  </a:lnTo>
                  <a:lnTo>
                    <a:pt x="693" y="4786"/>
                  </a:lnTo>
                  <a:lnTo>
                    <a:pt x="732" y="4836"/>
                  </a:lnTo>
                  <a:lnTo>
                    <a:pt x="771" y="4884"/>
                  </a:lnTo>
                  <a:lnTo>
                    <a:pt x="810" y="4930"/>
                  </a:lnTo>
                  <a:lnTo>
                    <a:pt x="850" y="4974"/>
                  </a:lnTo>
                  <a:lnTo>
                    <a:pt x="889" y="5017"/>
                  </a:lnTo>
                  <a:lnTo>
                    <a:pt x="930" y="5057"/>
                  </a:lnTo>
                  <a:lnTo>
                    <a:pt x="971" y="5096"/>
                  </a:lnTo>
                  <a:lnTo>
                    <a:pt x="1011" y="5133"/>
                  </a:lnTo>
                  <a:lnTo>
                    <a:pt x="1054" y="5168"/>
                  </a:lnTo>
                  <a:lnTo>
                    <a:pt x="1098" y="5200"/>
                  </a:lnTo>
                  <a:lnTo>
                    <a:pt x="1144" y="5232"/>
                  </a:lnTo>
                  <a:lnTo>
                    <a:pt x="1191" y="5261"/>
                  </a:lnTo>
                  <a:lnTo>
                    <a:pt x="1241" y="5287"/>
                  </a:lnTo>
                  <a:lnTo>
                    <a:pt x="1292" y="5313"/>
                  </a:lnTo>
                  <a:lnTo>
                    <a:pt x="1345" y="5336"/>
                  </a:lnTo>
                  <a:lnTo>
                    <a:pt x="1402" y="5357"/>
                  </a:lnTo>
                  <a:lnTo>
                    <a:pt x="1461" y="5376"/>
                  </a:lnTo>
                  <a:lnTo>
                    <a:pt x="1523" y="5394"/>
                  </a:lnTo>
                  <a:lnTo>
                    <a:pt x="1588" y="5409"/>
                  </a:lnTo>
                  <a:lnTo>
                    <a:pt x="1656" y="5422"/>
                  </a:lnTo>
                  <a:lnTo>
                    <a:pt x="1729" y="5434"/>
                  </a:lnTo>
                  <a:lnTo>
                    <a:pt x="1804" y="5443"/>
                  </a:lnTo>
                  <a:lnTo>
                    <a:pt x="1883" y="5450"/>
                  </a:lnTo>
                  <a:lnTo>
                    <a:pt x="1967" y="5455"/>
                  </a:lnTo>
                  <a:lnTo>
                    <a:pt x="2055" y="5458"/>
                  </a:lnTo>
                  <a:lnTo>
                    <a:pt x="2140" y="5460"/>
                  </a:lnTo>
                  <a:lnTo>
                    <a:pt x="2225" y="5461"/>
                  </a:lnTo>
                  <a:lnTo>
                    <a:pt x="2310" y="5462"/>
                  </a:lnTo>
                  <a:lnTo>
                    <a:pt x="2395" y="5463"/>
                  </a:lnTo>
                  <a:lnTo>
                    <a:pt x="2480" y="5463"/>
                  </a:lnTo>
                  <a:lnTo>
                    <a:pt x="2565" y="5463"/>
                  </a:lnTo>
                  <a:lnTo>
                    <a:pt x="2651" y="5463"/>
                  </a:lnTo>
                  <a:lnTo>
                    <a:pt x="2737" y="5463"/>
                  </a:lnTo>
                  <a:lnTo>
                    <a:pt x="2822" y="5463"/>
                  </a:lnTo>
                  <a:lnTo>
                    <a:pt x="2907" y="5462"/>
                  </a:lnTo>
                  <a:lnTo>
                    <a:pt x="2993" y="5462"/>
                  </a:lnTo>
                  <a:lnTo>
                    <a:pt x="3078" y="5462"/>
                  </a:lnTo>
                  <a:lnTo>
                    <a:pt x="3164" y="5461"/>
                  </a:lnTo>
                  <a:lnTo>
                    <a:pt x="3249" y="5461"/>
                  </a:lnTo>
                  <a:lnTo>
                    <a:pt x="3333" y="5461"/>
                  </a:lnTo>
                  <a:lnTo>
                    <a:pt x="3418" y="5461"/>
                  </a:lnTo>
                  <a:lnTo>
                    <a:pt x="3497" y="5460"/>
                  </a:lnTo>
                  <a:lnTo>
                    <a:pt x="3574" y="5460"/>
                  </a:lnTo>
                  <a:lnTo>
                    <a:pt x="3650" y="5459"/>
                  </a:lnTo>
                  <a:lnTo>
                    <a:pt x="3726" y="5457"/>
                  </a:lnTo>
                  <a:lnTo>
                    <a:pt x="3800" y="5455"/>
                  </a:lnTo>
                  <a:lnTo>
                    <a:pt x="3874" y="5451"/>
                  </a:lnTo>
                  <a:lnTo>
                    <a:pt x="3946" y="5447"/>
                  </a:lnTo>
                  <a:lnTo>
                    <a:pt x="4018" y="5442"/>
                  </a:lnTo>
                  <a:lnTo>
                    <a:pt x="4088" y="5436"/>
                  </a:lnTo>
                  <a:lnTo>
                    <a:pt x="4159" y="5429"/>
                  </a:lnTo>
                  <a:lnTo>
                    <a:pt x="4228" y="5420"/>
                  </a:lnTo>
                  <a:lnTo>
                    <a:pt x="4296" y="5410"/>
                  </a:lnTo>
                  <a:lnTo>
                    <a:pt x="4364" y="5399"/>
                  </a:lnTo>
                  <a:lnTo>
                    <a:pt x="4431" y="5387"/>
                  </a:lnTo>
                  <a:lnTo>
                    <a:pt x="4496" y="5372"/>
                  </a:lnTo>
                  <a:lnTo>
                    <a:pt x="4561" y="5356"/>
                  </a:lnTo>
                  <a:lnTo>
                    <a:pt x="4625" y="5337"/>
                  </a:lnTo>
                  <a:lnTo>
                    <a:pt x="4688" y="5318"/>
                  </a:lnTo>
                  <a:lnTo>
                    <a:pt x="4750" y="5296"/>
                  </a:lnTo>
                  <a:lnTo>
                    <a:pt x="4813" y="5272"/>
                  </a:lnTo>
                  <a:lnTo>
                    <a:pt x="4873" y="5246"/>
                  </a:lnTo>
                  <a:lnTo>
                    <a:pt x="4933" y="5218"/>
                  </a:lnTo>
                  <a:lnTo>
                    <a:pt x="4992" y="5187"/>
                  </a:lnTo>
                  <a:lnTo>
                    <a:pt x="5051" y="5154"/>
                  </a:lnTo>
                  <a:lnTo>
                    <a:pt x="5109" y="5118"/>
                  </a:lnTo>
                  <a:lnTo>
                    <a:pt x="5165" y="5081"/>
                  </a:lnTo>
                  <a:lnTo>
                    <a:pt x="5221" y="5040"/>
                  </a:lnTo>
                  <a:lnTo>
                    <a:pt x="5276" y="4996"/>
                  </a:lnTo>
                  <a:lnTo>
                    <a:pt x="5332" y="4950"/>
                  </a:lnTo>
                  <a:lnTo>
                    <a:pt x="5385" y="4900"/>
                  </a:lnTo>
                  <a:lnTo>
                    <a:pt x="5438" y="4847"/>
                  </a:lnTo>
                  <a:lnTo>
                    <a:pt x="5490" y="4792"/>
                  </a:lnTo>
                  <a:lnTo>
                    <a:pt x="5538" y="4736"/>
                  </a:lnTo>
                  <a:lnTo>
                    <a:pt x="5583" y="4678"/>
                  </a:lnTo>
                  <a:lnTo>
                    <a:pt x="5625" y="4619"/>
                  </a:lnTo>
                  <a:lnTo>
                    <a:pt x="5663" y="4558"/>
                  </a:lnTo>
                  <a:lnTo>
                    <a:pt x="5698" y="4495"/>
                  </a:lnTo>
                  <a:lnTo>
                    <a:pt x="5731" y="4432"/>
                  </a:lnTo>
                  <a:lnTo>
                    <a:pt x="5761" y="4366"/>
                  </a:lnTo>
                  <a:lnTo>
                    <a:pt x="5788" y="4299"/>
                  </a:lnTo>
                  <a:lnTo>
                    <a:pt x="5813" y="4231"/>
                  </a:lnTo>
                  <a:lnTo>
                    <a:pt x="5835" y="4161"/>
                  </a:lnTo>
                  <a:lnTo>
                    <a:pt x="5856" y="4092"/>
                  </a:lnTo>
                  <a:lnTo>
                    <a:pt x="5873" y="4020"/>
                  </a:lnTo>
                  <a:lnTo>
                    <a:pt x="5889" y="3949"/>
                  </a:lnTo>
                  <a:lnTo>
                    <a:pt x="5904" y="3875"/>
                  </a:lnTo>
                  <a:lnTo>
                    <a:pt x="5916" y="3802"/>
                  </a:lnTo>
                  <a:lnTo>
                    <a:pt x="5926" y="3728"/>
                  </a:lnTo>
                  <a:lnTo>
                    <a:pt x="5935" y="3653"/>
                  </a:lnTo>
                  <a:lnTo>
                    <a:pt x="5943" y="3578"/>
                  </a:lnTo>
                  <a:lnTo>
                    <a:pt x="5949" y="3502"/>
                  </a:lnTo>
                  <a:lnTo>
                    <a:pt x="5954" y="3427"/>
                  </a:lnTo>
                  <a:lnTo>
                    <a:pt x="5958" y="3351"/>
                  </a:lnTo>
                  <a:lnTo>
                    <a:pt x="5961" y="3274"/>
                  </a:lnTo>
                  <a:lnTo>
                    <a:pt x="5963" y="3198"/>
                  </a:lnTo>
                  <a:lnTo>
                    <a:pt x="5965" y="3123"/>
                  </a:lnTo>
                  <a:lnTo>
                    <a:pt x="5966" y="2971"/>
                  </a:lnTo>
                  <a:lnTo>
                    <a:pt x="5966" y="2821"/>
                  </a:lnTo>
                  <a:lnTo>
                    <a:pt x="5965" y="2673"/>
                  </a:lnTo>
                  <a:lnTo>
                    <a:pt x="5964" y="2528"/>
                  </a:lnTo>
                  <a:lnTo>
                    <a:pt x="5964" y="2444"/>
                  </a:lnTo>
                  <a:lnTo>
                    <a:pt x="5964" y="2361"/>
                  </a:lnTo>
                  <a:lnTo>
                    <a:pt x="5964" y="2280"/>
                  </a:lnTo>
                  <a:lnTo>
                    <a:pt x="5962" y="2200"/>
                  </a:lnTo>
                  <a:lnTo>
                    <a:pt x="5960" y="2123"/>
                  </a:lnTo>
                  <a:lnTo>
                    <a:pt x="5958" y="2045"/>
                  </a:lnTo>
                  <a:lnTo>
                    <a:pt x="5953" y="1969"/>
                  </a:lnTo>
                  <a:lnTo>
                    <a:pt x="5948" y="1893"/>
                  </a:lnTo>
                  <a:lnTo>
                    <a:pt x="5940" y="1819"/>
                  </a:lnTo>
                  <a:lnTo>
                    <a:pt x="5931" y="1744"/>
                  </a:lnTo>
                  <a:lnTo>
                    <a:pt x="5926" y="1706"/>
                  </a:lnTo>
                  <a:lnTo>
                    <a:pt x="5921" y="1669"/>
                  </a:lnTo>
                  <a:lnTo>
                    <a:pt x="5914" y="1631"/>
                  </a:lnTo>
                  <a:lnTo>
                    <a:pt x="5908" y="1595"/>
                  </a:lnTo>
                  <a:lnTo>
                    <a:pt x="5900" y="1557"/>
                  </a:lnTo>
                  <a:lnTo>
                    <a:pt x="5891" y="1519"/>
                  </a:lnTo>
                  <a:lnTo>
                    <a:pt x="5883" y="1482"/>
                  </a:lnTo>
                  <a:lnTo>
                    <a:pt x="5874" y="1444"/>
                  </a:lnTo>
                  <a:lnTo>
                    <a:pt x="5864" y="1406"/>
                  </a:lnTo>
                  <a:lnTo>
                    <a:pt x="5853" y="1367"/>
                  </a:lnTo>
                  <a:lnTo>
                    <a:pt x="5841" y="1329"/>
                  </a:lnTo>
                  <a:lnTo>
                    <a:pt x="5828" y="1291"/>
                  </a:lnTo>
                  <a:lnTo>
                    <a:pt x="5817" y="1258"/>
                  </a:lnTo>
                  <a:lnTo>
                    <a:pt x="5806" y="1226"/>
                  </a:lnTo>
                  <a:lnTo>
                    <a:pt x="5793" y="1193"/>
                  </a:lnTo>
                  <a:lnTo>
                    <a:pt x="5781" y="1162"/>
                  </a:lnTo>
                  <a:lnTo>
                    <a:pt x="5768" y="1131"/>
                  </a:lnTo>
                  <a:lnTo>
                    <a:pt x="5754" y="1099"/>
                  </a:lnTo>
                  <a:lnTo>
                    <a:pt x="5739" y="1069"/>
                  </a:lnTo>
                  <a:lnTo>
                    <a:pt x="5725" y="1039"/>
                  </a:lnTo>
                  <a:lnTo>
                    <a:pt x="5711" y="1009"/>
                  </a:lnTo>
                  <a:lnTo>
                    <a:pt x="5695" y="979"/>
                  </a:lnTo>
                  <a:lnTo>
                    <a:pt x="5679" y="951"/>
                  </a:lnTo>
                  <a:lnTo>
                    <a:pt x="5663" y="922"/>
                  </a:lnTo>
                  <a:lnTo>
                    <a:pt x="5646" y="895"/>
                  </a:lnTo>
                  <a:lnTo>
                    <a:pt x="5630" y="867"/>
                  </a:lnTo>
                  <a:lnTo>
                    <a:pt x="5613" y="840"/>
                  </a:lnTo>
                  <a:lnTo>
                    <a:pt x="5595" y="814"/>
                  </a:lnTo>
                  <a:lnTo>
                    <a:pt x="5577" y="788"/>
                  </a:lnTo>
                  <a:lnTo>
                    <a:pt x="5559" y="762"/>
                  </a:lnTo>
                  <a:lnTo>
                    <a:pt x="5541" y="738"/>
                  </a:lnTo>
                  <a:lnTo>
                    <a:pt x="5522" y="713"/>
                  </a:lnTo>
                  <a:lnTo>
                    <a:pt x="5503" y="690"/>
                  </a:lnTo>
                  <a:lnTo>
                    <a:pt x="5484" y="666"/>
                  </a:lnTo>
                  <a:lnTo>
                    <a:pt x="5464" y="644"/>
                  </a:lnTo>
                  <a:lnTo>
                    <a:pt x="5445" y="622"/>
                  </a:lnTo>
                  <a:lnTo>
                    <a:pt x="5426" y="601"/>
                  </a:lnTo>
                  <a:lnTo>
                    <a:pt x="5405" y="580"/>
                  </a:lnTo>
                  <a:lnTo>
                    <a:pt x="5386" y="561"/>
                  </a:lnTo>
                  <a:lnTo>
                    <a:pt x="5365" y="541"/>
                  </a:lnTo>
                  <a:lnTo>
                    <a:pt x="5345" y="523"/>
                  </a:lnTo>
                  <a:lnTo>
                    <a:pt x="5324" y="506"/>
                  </a:lnTo>
                  <a:lnTo>
                    <a:pt x="5304" y="488"/>
                  </a:lnTo>
                  <a:lnTo>
                    <a:pt x="5284" y="472"/>
                  </a:lnTo>
                  <a:lnTo>
                    <a:pt x="5222" y="427"/>
                  </a:lnTo>
                  <a:lnTo>
                    <a:pt x="5162" y="384"/>
                  </a:lnTo>
                  <a:lnTo>
                    <a:pt x="5101" y="345"/>
                  </a:lnTo>
                  <a:lnTo>
                    <a:pt x="5038" y="308"/>
                  </a:lnTo>
                  <a:lnTo>
                    <a:pt x="4977" y="274"/>
                  </a:lnTo>
                  <a:lnTo>
                    <a:pt x="4915" y="243"/>
                  </a:lnTo>
                  <a:lnTo>
                    <a:pt x="4852" y="214"/>
                  </a:lnTo>
                  <a:lnTo>
                    <a:pt x="4789" y="187"/>
                  </a:lnTo>
                  <a:lnTo>
                    <a:pt x="4725" y="164"/>
                  </a:lnTo>
                  <a:lnTo>
                    <a:pt x="4661" y="142"/>
                  </a:lnTo>
                  <a:lnTo>
                    <a:pt x="4596" y="122"/>
                  </a:lnTo>
                  <a:lnTo>
                    <a:pt x="4531" y="104"/>
                  </a:lnTo>
                  <a:lnTo>
                    <a:pt x="4464" y="89"/>
                  </a:lnTo>
                  <a:lnTo>
                    <a:pt x="4397" y="75"/>
                  </a:lnTo>
                  <a:lnTo>
                    <a:pt x="4329" y="62"/>
                  </a:lnTo>
                  <a:lnTo>
                    <a:pt x="4261" y="51"/>
                  </a:lnTo>
                  <a:lnTo>
                    <a:pt x="4192" y="42"/>
                  </a:lnTo>
                  <a:lnTo>
                    <a:pt x="4121" y="34"/>
                  </a:lnTo>
                  <a:lnTo>
                    <a:pt x="4050" y="28"/>
                  </a:lnTo>
                  <a:lnTo>
                    <a:pt x="3977" y="21"/>
                  </a:lnTo>
                  <a:lnTo>
                    <a:pt x="3903" y="17"/>
                  </a:lnTo>
                  <a:lnTo>
                    <a:pt x="3830" y="13"/>
                  </a:lnTo>
                  <a:lnTo>
                    <a:pt x="3753" y="10"/>
                  </a:lnTo>
                  <a:lnTo>
                    <a:pt x="3677" y="8"/>
                  </a:lnTo>
                  <a:lnTo>
                    <a:pt x="3519" y="6"/>
                  </a:lnTo>
                  <a:lnTo>
                    <a:pt x="3357" y="6"/>
                  </a:lnTo>
                  <a:lnTo>
                    <a:pt x="3188" y="6"/>
                  </a:lnTo>
                  <a:lnTo>
                    <a:pt x="3014" y="6"/>
                  </a:lnTo>
                  <a:lnTo>
                    <a:pt x="2928" y="6"/>
                  </a:lnTo>
                  <a:lnTo>
                    <a:pt x="2842" y="6"/>
                  </a:lnTo>
                  <a:lnTo>
                    <a:pt x="2755" y="6"/>
                  </a:lnTo>
                  <a:lnTo>
                    <a:pt x="2669" y="6"/>
                  </a:lnTo>
                  <a:lnTo>
                    <a:pt x="2584" y="6"/>
                  </a:lnTo>
                  <a:lnTo>
                    <a:pt x="2498" y="6"/>
                  </a:lnTo>
                  <a:lnTo>
                    <a:pt x="2411" y="6"/>
                  </a:lnTo>
                  <a:lnTo>
                    <a:pt x="2325" y="6"/>
                  </a:lnTo>
                  <a:lnTo>
                    <a:pt x="2203" y="5"/>
                  </a:lnTo>
                  <a:lnTo>
                    <a:pt x="2083" y="2"/>
                  </a:lnTo>
                  <a:lnTo>
                    <a:pt x="2025" y="1"/>
                  </a:lnTo>
                  <a:lnTo>
                    <a:pt x="1967" y="0"/>
                  </a:lnTo>
                  <a:lnTo>
                    <a:pt x="1910" y="0"/>
                  </a:lnTo>
                  <a:lnTo>
                    <a:pt x="1855" y="1"/>
                  </a:lnTo>
                  <a:lnTo>
                    <a:pt x="1802" y="2"/>
                  </a:lnTo>
                  <a:lnTo>
                    <a:pt x="1750" y="5"/>
                  </a:lnTo>
                  <a:lnTo>
                    <a:pt x="1700" y="10"/>
                  </a:lnTo>
                  <a:lnTo>
                    <a:pt x="1651" y="16"/>
                  </a:lnTo>
                  <a:lnTo>
                    <a:pt x="1604" y="26"/>
                  </a:lnTo>
                  <a:lnTo>
                    <a:pt x="1559" y="37"/>
                  </a:lnTo>
                  <a:lnTo>
                    <a:pt x="1516" y="50"/>
                  </a:lnTo>
                  <a:lnTo>
                    <a:pt x="1475" y="67"/>
                  </a:lnTo>
                  <a:lnTo>
                    <a:pt x="1436" y="86"/>
                  </a:lnTo>
                  <a:lnTo>
                    <a:pt x="1400" y="108"/>
                  </a:lnTo>
                  <a:lnTo>
                    <a:pt x="1366" y="135"/>
                  </a:lnTo>
                  <a:lnTo>
                    <a:pt x="1334" y="166"/>
                  </a:lnTo>
                  <a:lnTo>
                    <a:pt x="1306" y="200"/>
                  </a:lnTo>
                  <a:lnTo>
                    <a:pt x="1280" y="238"/>
                  </a:lnTo>
                  <a:lnTo>
                    <a:pt x="1257" y="281"/>
                  </a:lnTo>
                  <a:lnTo>
                    <a:pt x="1237" y="330"/>
                  </a:lnTo>
                  <a:lnTo>
                    <a:pt x="1220" y="382"/>
                  </a:lnTo>
                  <a:lnTo>
                    <a:pt x="1207" y="440"/>
                  </a:lnTo>
                  <a:lnTo>
                    <a:pt x="1195" y="504"/>
                  </a:lnTo>
                  <a:lnTo>
                    <a:pt x="1189" y="573"/>
                  </a:lnTo>
                  <a:lnTo>
                    <a:pt x="1185" y="649"/>
                  </a:lnTo>
                  <a:lnTo>
                    <a:pt x="1185" y="730"/>
                  </a:lnTo>
                  <a:lnTo>
                    <a:pt x="1189" y="819"/>
                  </a:lnTo>
                  <a:lnTo>
                    <a:pt x="1196" y="913"/>
                  </a:lnTo>
                  <a:lnTo>
                    <a:pt x="1248" y="916"/>
                  </a:lnTo>
                  <a:lnTo>
                    <a:pt x="1319" y="919"/>
                  </a:lnTo>
                  <a:lnTo>
                    <a:pt x="1406" y="920"/>
                  </a:lnTo>
                  <a:lnTo>
                    <a:pt x="1506" y="921"/>
                  </a:lnTo>
                  <a:lnTo>
                    <a:pt x="1617" y="922"/>
                  </a:lnTo>
                  <a:lnTo>
                    <a:pt x="1738" y="922"/>
                  </a:lnTo>
                  <a:lnTo>
                    <a:pt x="1864" y="922"/>
                  </a:lnTo>
                  <a:lnTo>
                    <a:pt x="1994" y="922"/>
                  </a:lnTo>
                  <a:lnTo>
                    <a:pt x="2126" y="921"/>
                  </a:lnTo>
                  <a:lnTo>
                    <a:pt x="2256" y="920"/>
                  </a:lnTo>
                  <a:lnTo>
                    <a:pt x="2381" y="919"/>
                  </a:lnTo>
                  <a:lnTo>
                    <a:pt x="2501" y="918"/>
                  </a:lnTo>
                  <a:lnTo>
                    <a:pt x="2612" y="917"/>
                  </a:lnTo>
                  <a:lnTo>
                    <a:pt x="2711" y="917"/>
                  </a:lnTo>
                  <a:lnTo>
                    <a:pt x="2796" y="916"/>
                  </a:lnTo>
                  <a:lnTo>
                    <a:pt x="2866" y="916"/>
                  </a:lnTo>
                  <a:lnTo>
                    <a:pt x="2966" y="915"/>
                  </a:lnTo>
                  <a:lnTo>
                    <a:pt x="3068" y="912"/>
                  </a:lnTo>
                  <a:lnTo>
                    <a:pt x="3169" y="908"/>
                  </a:lnTo>
                  <a:lnTo>
                    <a:pt x="3271" y="905"/>
                  </a:lnTo>
                  <a:lnTo>
                    <a:pt x="3321" y="905"/>
                  </a:lnTo>
                  <a:lnTo>
                    <a:pt x="3370" y="904"/>
                  </a:lnTo>
                  <a:lnTo>
                    <a:pt x="3419" y="904"/>
                  </a:lnTo>
                  <a:lnTo>
                    <a:pt x="3467" y="906"/>
                  </a:lnTo>
                  <a:lnTo>
                    <a:pt x="3515" y="908"/>
                  </a:lnTo>
                  <a:lnTo>
                    <a:pt x="3562" y="911"/>
                  </a:lnTo>
                  <a:lnTo>
                    <a:pt x="3607" y="915"/>
                  </a:lnTo>
                  <a:lnTo>
                    <a:pt x="3652" y="921"/>
                  </a:lnTo>
                  <a:lnTo>
                    <a:pt x="3695" y="928"/>
                  </a:lnTo>
                  <a:lnTo>
                    <a:pt x="3737" y="938"/>
                  </a:lnTo>
                  <a:lnTo>
                    <a:pt x="3778" y="949"/>
                  </a:lnTo>
                  <a:lnTo>
                    <a:pt x="3817" y="962"/>
                  </a:lnTo>
                  <a:lnTo>
                    <a:pt x="3853" y="976"/>
                  </a:lnTo>
                  <a:lnTo>
                    <a:pt x="3889" y="994"/>
                  </a:lnTo>
                  <a:lnTo>
                    <a:pt x="3923" y="1013"/>
                  </a:lnTo>
                  <a:lnTo>
                    <a:pt x="3955" y="1036"/>
                  </a:lnTo>
                  <a:lnTo>
                    <a:pt x="3984" y="1060"/>
                  </a:lnTo>
                  <a:lnTo>
                    <a:pt x="4012" y="1088"/>
                  </a:lnTo>
                  <a:lnTo>
                    <a:pt x="4036" y="1119"/>
                  </a:lnTo>
                  <a:lnTo>
                    <a:pt x="4060" y="1152"/>
                  </a:lnTo>
                  <a:lnTo>
                    <a:pt x="4079" y="1189"/>
                  </a:lnTo>
                  <a:lnTo>
                    <a:pt x="4098" y="1230"/>
                  </a:lnTo>
                  <a:lnTo>
                    <a:pt x="4112" y="1274"/>
                  </a:lnTo>
                  <a:lnTo>
                    <a:pt x="4124" y="1321"/>
                  </a:lnTo>
                  <a:lnTo>
                    <a:pt x="4128" y="1346"/>
                  </a:lnTo>
                  <a:lnTo>
                    <a:pt x="4132" y="1381"/>
                  </a:lnTo>
                  <a:lnTo>
                    <a:pt x="4135" y="1424"/>
                  </a:lnTo>
                  <a:lnTo>
                    <a:pt x="4138" y="1474"/>
                  </a:lnTo>
                  <a:lnTo>
                    <a:pt x="4141" y="1532"/>
                  </a:lnTo>
                  <a:lnTo>
                    <a:pt x="4144" y="1598"/>
                  </a:lnTo>
                  <a:lnTo>
                    <a:pt x="4146" y="1669"/>
                  </a:lnTo>
                  <a:lnTo>
                    <a:pt x="4147" y="1746"/>
                  </a:lnTo>
                  <a:lnTo>
                    <a:pt x="4150" y="1916"/>
                  </a:lnTo>
                  <a:lnTo>
                    <a:pt x="4152" y="2100"/>
                  </a:lnTo>
                  <a:lnTo>
                    <a:pt x="4152" y="2297"/>
                  </a:lnTo>
                  <a:lnTo>
                    <a:pt x="4153" y="2499"/>
                  </a:lnTo>
                  <a:lnTo>
                    <a:pt x="4152" y="2704"/>
                  </a:lnTo>
                  <a:lnTo>
                    <a:pt x="4151" y="2906"/>
                  </a:lnTo>
                  <a:lnTo>
                    <a:pt x="4150" y="3100"/>
                  </a:lnTo>
                  <a:lnTo>
                    <a:pt x="4149" y="3282"/>
                  </a:lnTo>
                  <a:lnTo>
                    <a:pt x="4148" y="3448"/>
                  </a:lnTo>
                  <a:lnTo>
                    <a:pt x="4147" y="3592"/>
                  </a:lnTo>
                  <a:lnTo>
                    <a:pt x="4147" y="3711"/>
                  </a:lnTo>
                  <a:lnTo>
                    <a:pt x="4146" y="3798"/>
                  </a:lnTo>
                  <a:lnTo>
                    <a:pt x="4146" y="3846"/>
                  </a:lnTo>
                  <a:lnTo>
                    <a:pt x="4146" y="3893"/>
                  </a:lnTo>
                  <a:lnTo>
                    <a:pt x="4145" y="3940"/>
                  </a:lnTo>
                  <a:lnTo>
                    <a:pt x="4143" y="3985"/>
                  </a:lnTo>
                  <a:lnTo>
                    <a:pt x="4139" y="4030"/>
                  </a:lnTo>
                  <a:lnTo>
                    <a:pt x="4135" y="4073"/>
                  </a:lnTo>
                  <a:lnTo>
                    <a:pt x="4132" y="4095"/>
                  </a:lnTo>
                  <a:lnTo>
                    <a:pt x="4129" y="4116"/>
                  </a:lnTo>
                  <a:lnTo>
                    <a:pt x="4125" y="4137"/>
                  </a:lnTo>
                  <a:lnTo>
                    <a:pt x="4121" y="4157"/>
                  </a:lnTo>
                  <a:lnTo>
                    <a:pt x="4116" y="4177"/>
                  </a:lnTo>
                  <a:lnTo>
                    <a:pt x="4111" y="4197"/>
                  </a:lnTo>
                  <a:lnTo>
                    <a:pt x="4105" y="4217"/>
                  </a:lnTo>
                  <a:lnTo>
                    <a:pt x="4099" y="4235"/>
                  </a:lnTo>
                  <a:lnTo>
                    <a:pt x="4091" y="4254"/>
                  </a:lnTo>
                  <a:lnTo>
                    <a:pt x="4083" y="4272"/>
                  </a:lnTo>
                  <a:lnTo>
                    <a:pt x="4074" y="4290"/>
                  </a:lnTo>
                  <a:lnTo>
                    <a:pt x="4065" y="4308"/>
                  </a:lnTo>
                  <a:lnTo>
                    <a:pt x="4055" y="4325"/>
                  </a:lnTo>
                  <a:lnTo>
                    <a:pt x="4043" y="4342"/>
                  </a:lnTo>
                  <a:lnTo>
                    <a:pt x="4031" y="4358"/>
                  </a:lnTo>
                  <a:lnTo>
                    <a:pt x="4018" y="4373"/>
                  </a:lnTo>
                  <a:lnTo>
                    <a:pt x="4005" y="4389"/>
                  </a:lnTo>
                  <a:lnTo>
                    <a:pt x="3989" y="4404"/>
                  </a:lnTo>
                  <a:lnTo>
                    <a:pt x="3974" y="4418"/>
                  </a:lnTo>
                  <a:lnTo>
                    <a:pt x="3957" y="4432"/>
                  </a:lnTo>
                  <a:lnTo>
                    <a:pt x="3940" y="4444"/>
                  </a:lnTo>
                  <a:lnTo>
                    <a:pt x="3923" y="4456"/>
                  </a:lnTo>
                  <a:lnTo>
                    <a:pt x="3906" y="4466"/>
                  </a:lnTo>
                  <a:lnTo>
                    <a:pt x="3887" y="4477"/>
                  </a:lnTo>
                  <a:lnTo>
                    <a:pt x="3868" y="4485"/>
                  </a:lnTo>
                  <a:lnTo>
                    <a:pt x="3848" y="4493"/>
                  </a:lnTo>
                  <a:lnTo>
                    <a:pt x="3828" y="4501"/>
                  </a:lnTo>
                  <a:lnTo>
                    <a:pt x="3807" y="4507"/>
                  </a:lnTo>
                  <a:lnTo>
                    <a:pt x="3787" y="4515"/>
                  </a:lnTo>
                  <a:lnTo>
                    <a:pt x="3766" y="4520"/>
                  </a:lnTo>
                  <a:lnTo>
                    <a:pt x="3744" y="4525"/>
                  </a:lnTo>
                  <a:lnTo>
                    <a:pt x="3722" y="4529"/>
                  </a:lnTo>
                  <a:lnTo>
                    <a:pt x="3677" y="4536"/>
                  </a:lnTo>
                  <a:lnTo>
                    <a:pt x="3630" y="4542"/>
                  </a:lnTo>
                  <a:lnTo>
                    <a:pt x="3583" y="4545"/>
                  </a:lnTo>
                  <a:lnTo>
                    <a:pt x="3535" y="4548"/>
                  </a:lnTo>
                  <a:lnTo>
                    <a:pt x="3486" y="4549"/>
                  </a:lnTo>
                  <a:lnTo>
                    <a:pt x="3438" y="4550"/>
                  </a:lnTo>
                  <a:lnTo>
                    <a:pt x="3389" y="4550"/>
                  </a:lnTo>
                  <a:lnTo>
                    <a:pt x="3340" y="4549"/>
                  </a:lnTo>
                  <a:lnTo>
                    <a:pt x="3291" y="4549"/>
                  </a:lnTo>
                  <a:lnTo>
                    <a:pt x="3244" y="4549"/>
                  </a:lnTo>
                  <a:lnTo>
                    <a:pt x="3191" y="4549"/>
                  </a:lnTo>
                  <a:lnTo>
                    <a:pt x="3140" y="4549"/>
                  </a:lnTo>
                  <a:lnTo>
                    <a:pt x="3089" y="4549"/>
                  </a:lnTo>
                  <a:lnTo>
                    <a:pt x="3037" y="4549"/>
                  </a:lnTo>
                  <a:lnTo>
                    <a:pt x="2986" y="4549"/>
                  </a:lnTo>
                  <a:lnTo>
                    <a:pt x="2934" y="4549"/>
                  </a:lnTo>
                  <a:lnTo>
                    <a:pt x="2883" y="4549"/>
                  </a:lnTo>
                  <a:lnTo>
                    <a:pt x="2832" y="4549"/>
                  </a:lnTo>
                  <a:lnTo>
                    <a:pt x="2780" y="4549"/>
                  </a:lnTo>
                  <a:lnTo>
                    <a:pt x="2729" y="4549"/>
                  </a:lnTo>
                  <a:lnTo>
                    <a:pt x="2677" y="4549"/>
                  </a:lnTo>
                  <a:lnTo>
                    <a:pt x="2625" y="4549"/>
                  </a:lnTo>
                  <a:lnTo>
                    <a:pt x="2574" y="4549"/>
                  </a:lnTo>
                  <a:lnTo>
                    <a:pt x="2522" y="4549"/>
                  </a:lnTo>
                  <a:lnTo>
                    <a:pt x="2471" y="4549"/>
                  </a:lnTo>
                  <a:lnTo>
                    <a:pt x="2420" y="4549"/>
                  </a:lnTo>
                  <a:lnTo>
                    <a:pt x="2369" y="4549"/>
                  </a:lnTo>
                  <a:lnTo>
                    <a:pt x="2320" y="4548"/>
                  </a:lnTo>
                  <a:lnTo>
                    <a:pt x="2271" y="4547"/>
                  </a:lnTo>
                  <a:lnTo>
                    <a:pt x="2224" y="4544"/>
                  </a:lnTo>
                  <a:lnTo>
                    <a:pt x="2178" y="4540"/>
                  </a:lnTo>
                  <a:lnTo>
                    <a:pt x="2134" y="4534"/>
                  </a:lnTo>
                  <a:lnTo>
                    <a:pt x="2113" y="4531"/>
                  </a:lnTo>
                  <a:lnTo>
                    <a:pt x="2092" y="4527"/>
                  </a:lnTo>
                  <a:lnTo>
                    <a:pt x="2072" y="4522"/>
                  </a:lnTo>
                  <a:lnTo>
                    <a:pt x="2052" y="4517"/>
                  </a:lnTo>
                  <a:lnTo>
                    <a:pt x="2033" y="4510"/>
                  </a:lnTo>
                  <a:lnTo>
                    <a:pt x="2014" y="4503"/>
                  </a:lnTo>
                  <a:lnTo>
                    <a:pt x="1996" y="4496"/>
                  </a:lnTo>
                  <a:lnTo>
                    <a:pt x="1979" y="4487"/>
                  </a:lnTo>
                  <a:lnTo>
                    <a:pt x="1961" y="4478"/>
                  </a:lnTo>
                  <a:lnTo>
                    <a:pt x="1946" y="4467"/>
                  </a:lnTo>
                  <a:lnTo>
                    <a:pt x="1931" y="4457"/>
                  </a:lnTo>
                  <a:lnTo>
                    <a:pt x="1916" y="4445"/>
                  </a:lnTo>
                  <a:lnTo>
                    <a:pt x="1902" y="4432"/>
                  </a:lnTo>
                  <a:lnTo>
                    <a:pt x="1889" y="4418"/>
                  </a:lnTo>
                  <a:lnTo>
                    <a:pt x="1877" y="4403"/>
                  </a:lnTo>
                  <a:lnTo>
                    <a:pt x="1865" y="4387"/>
                  </a:lnTo>
                  <a:lnTo>
                    <a:pt x="1854" y="4369"/>
                  </a:lnTo>
                  <a:lnTo>
                    <a:pt x="1845" y="4351"/>
                  </a:lnTo>
                  <a:lnTo>
                    <a:pt x="1836" y="4331"/>
                  </a:lnTo>
                  <a:lnTo>
                    <a:pt x="1828" y="4310"/>
                  </a:lnTo>
                  <a:lnTo>
                    <a:pt x="1822" y="4288"/>
                  </a:lnTo>
                  <a:lnTo>
                    <a:pt x="1816" y="4267"/>
                  </a:lnTo>
                  <a:lnTo>
                    <a:pt x="1812" y="4245"/>
                  </a:lnTo>
                  <a:lnTo>
                    <a:pt x="1810" y="4225"/>
                  </a:lnTo>
                  <a:lnTo>
                    <a:pt x="1809" y="4203"/>
                  </a:lnTo>
                  <a:lnTo>
                    <a:pt x="1809" y="4182"/>
                  </a:lnTo>
                  <a:lnTo>
                    <a:pt x="1811" y="4161"/>
                  </a:lnTo>
                  <a:lnTo>
                    <a:pt x="1814" y="4140"/>
                  </a:lnTo>
                  <a:lnTo>
                    <a:pt x="1817" y="4119"/>
                  </a:lnTo>
                  <a:lnTo>
                    <a:pt x="1823" y="4099"/>
                  </a:lnTo>
                  <a:lnTo>
                    <a:pt x="1829" y="4079"/>
                  </a:lnTo>
                  <a:lnTo>
                    <a:pt x="1835" y="4058"/>
                  </a:lnTo>
                  <a:lnTo>
                    <a:pt x="1842" y="4039"/>
                  </a:lnTo>
                  <a:lnTo>
                    <a:pt x="1850" y="4019"/>
                  </a:lnTo>
                  <a:lnTo>
                    <a:pt x="1859" y="4000"/>
                  </a:lnTo>
                  <a:lnTo>
                    <a:pt x="1869" y="3980"/>
                  </a:lnTo>
                  <a:lnTo>
                    <a:pt x="1889" y="3943"/>
                  </a:lnTo>
                  <a:lnTo>
                    <a:pt x="1910" y="3908"/>
                  </a:lnTo>
                  <a:lnTo>
                    <a:pt x="1933" y="3874"/>
                  </a:lnTo>
                  <a:lnTo>
                    <a:pt x="1956" y="3841"/>
                  </a:lnTo>
                  <a:lnTo>
                    <a:pt x="2001" y="3781"/>
                  </a:lnTo>
                  <a:lnTo>
                    <a:pt x="2041" y="3730"/>
                  </a:lnTo>
                  <a:lnTo>
                    <a:pt x="3111" y="2301"/>
                  </a:lnTo>
                  <a:lnTo>
                    <a:pt x="3134" y="2270"/>
                  </a:lnTo>
                  <a:lnTo>
                    <a:pt x="3158" y="2239"/>
                  </a:lnTo>
                  <a:lnTo>
                    <a:pt x="3180" y="2210"/>
                  </a:lnTo>
                  <a:lnTo>
                    <a:pt x="3203" y="2180"/>
                  </a:lnTo>
                  <a:lnTo>
                    <a:pt x="3225" y="2150"/>
                  </a:lnTo>
                  <a:lnTo>
                    <a:pt x="3248" y="2121"/>
                  </a:lnTo>
                  <a:lnTo>
                    <a:pt x="3269" y="2091"/>
                  </a:lnTo>
                  <a:lnTo>
                    <a:pt x="3291" y="2061"/>
                  </a:lnTo>
                  <a:lnTo>
                    <a:pt x="3312" y="2033"/>
                  </a:lnTo>
                  <a:lnTo>
                    <a:pt x="3334" y="2004"/>
                  </a:lnTo>
                  <a:lnTo>
                    <a:pt x="3358" y="1974"/>
                  </a:lnTo>
                  <a:lnTo>
                    <a:pt x="3382" y="1944"/>
                  </a:lnTo>
                  <a:lnTo>
                    <a:pt x="3405" y="1913"/>
                  </a:lnTo>
                  <a:lnTo>
                    <a:pt x="3426" y="1883"/>
                  </a:lnTo>
                  <a:lnTo>
                    <a:pt x="3437" y="1868"/>
                  </a:lnTo>
                  <a:lnTo>
                    <a:pt x="3446" y="1852"/>
                  </a:lnTo>
                  <a:lnTo>
                    <a:pt x="3454" y="1838"/>
                  </a:lnTo>
                  <a:lnTo>
                    <a:pt x="3461" y="1823"/>
                  </a:lnTo>
                  <a:lnTo>
                    <a:pt x="1189" y="1825"/>
                  </a:lnTo>
                  <a:lnTo>
                    <a:pt x="308" y="3008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4" name="Freeform 11"/>
            <p:cNvSpPr>
              <a:spLocks/>
            </p:cNvSpPr>
            <p:nvPr userDrawn="1"/>
          </p:nvSpPr>
          <p:spPr bwMode="auto">
            <a:xfrm>
              <a:off x="5121" y="3022"/>
              <a:ext cx="196" cy="156"/>
            </a:xfrm>
            <a:custGeom>
              <a:avLst/>
              <a:gdLst/>
              <a:ahLst/>
              <a:cxnLst>
                <a:cxn ang="0">
                  <a:pos x="2720" y="5463"/>
                </a:cxn>
                <a:cxn ang="0">
                  <a:pos x="3040" y="915"/>
                </a:cxn>
                <a:cxn ang="0">
                  <a:pos x="3460" y="914"/>
                </a:cxn>
                <a:cxn ang="0">
                  <a:pos x="3880" y="916"/>
                </a:cxn>
                <a:cxn ang="0">
                  <a:pos x="4298" y="918"/>
                </a:cxn>
                <a:cxn ang="0">
                  <a:pos x="4646" y="922"/>
                </a:cxn>
                <a:cxn ang="0">
                  <a:pos x="4757" y="935"/>
                </a:cxn>
                <a:cxn ang="0">
                  <a:pos x="4839" y="957"/>
                </a:cxn>
                <a:cxn ang="0">
                  <a:pos x="4912" y="990"/>
                </a:cxn>
                <a:cxn ang="0">
                  <a:pos x="4972" y="1037"/>
                </a:cxn>
                <a:cxn ang="0">
                  <a:pos x="5020" y="1104"/>
                </a:cxn>
                <a:cxn ang="0">
                  <a:pos x="5053" y="1190"/>
                </a:cxn>
                <a:cxn ang="0">
                  <a:pos x="5063" y="1276"/>
                </a:cxn>
                <a:cxn ang="0">
                  <a:pos x="5052" y="1359"/>
                </a:cxn>
                <a:cxn ang="0">
                  <a:pos x="5026" y="1438"/>
                </a:cxn>
                <a:cxn ang="0">
                  <a:pos x="4989" y="1512"/>
                </a:cxn>
                <a:cxn ang="0">
                  <a:pos x="4889" y="1658"/>
                </a:cxn>
                <a:cxn ang="0">
                  <a:pos x="3727" y="3210"/>
                </a:cxn>
                <a:cxn ang="0">
                  <a:pos x="3640" y="3327"/>
                </a:cxn>
                <a:cxn ang="0">
                  <a:pos x="3551" y="3444"/>
                </a:cxn>
                <a:cxn ang="0">
                  <a:pos x="3444" y="3588"/>
                </a:cxn>
                <a:cxn ang="0">
                  <a:pos x="3412" y="3643"/>
                </a:cxn>
                <a:cxn ang="0">
                  <a:pos x="5684" y="3621"/>
                </a:cxn>
                <a:cxn ang="0">
                  <a:pos x="5828" y="3445"/>
                </a:cxn>
                <a:cxn ang="0">
                  <a:pos x="6062" y="3137"/>
                </a:cxn>
                <a:cxn ang="0">
                  <a:pos x="6267" y="2859"/>
                </a:cxn>
                <a:cxn ang="0">
                  <a:pos x="6360" y="2731"/>
                </a:cxn>
                <a:cxn ang="0">
                  <a:pos x="6443" y="2618"/>
                </a:cxn>
                <a:cxn ang="0">
                  <a:pos x="6540" y="2492"/>
                </a:cxn>
                <a:cxn ang="0">
                  <a:pos x="6676" y="2311"/>
                </a:cxn>
                <a:cxn ang="0">
                  <a:pos x="6754" y="2189"/>
                </a:cxn>
                <a:cxn ang="0">
                  <a:pos x="6806" y="2086"/>
                </a:cxn>
                <a:cxn ang="0">
                  <a:pos x="6843" y="1979"/>
                </a:cxn>
                <a:cxn ang="0">
                  <a:pos x="6864" y="1869"/>
                </a:cxn>
                <a:cxn ang="0">
                  <a:pos x="6863" y="1754"/>
                </a:cxn>
                <a:cxn ang="0">
                  <a:pos x="6837" y="1645"/>
                </a:cxn>
                <a:cxn ang="0">
                  <a:pos x="6784" y="1527"/>
                </a:cxn>
                <a:cxn ang="0">
                  <a:pos x="6710" y="1398"/>
                </a:cxn>
                <a:cxn ang="0">
                  <a:pos x="6547" y="1162"/>
                </a:cxn>
                <a:cxn ang="0">
                  <a:pos x="6357" y="913"/>
                </a:cxn>
                <a:cxn ang="0">
                  <a:pos x="6199" y="705"/>
                </a:cxn>
                <a:cxn ang="0">
                  <a:pos x="6039" y="511"/>
                </a:cxn>
                <a:cxn ang="0">
                  <a:pos x="5940" y="408"/>
                </a:cxn>
                <a:cxn ang="0">
                  <a:pos x="5834" y="314"/>
                </a:cxn>
                <a:cxn ang="0">
                  <a:pos x="5720" y="229"/>
                </a:cxn>
                <a:cxn ang="0">
                  <a:pos x="5596" y="157"/>
                </a:cxn>
                <a:cxn ang="0">
                  <a:pos x="5461" y="100"/>
                </a:cxn>
                <a:cxn ang="0">
                  <a:pos x="5315" y="60"/>
                </a:cxn>
                <a:cxn ang="0">
                  <a:pos x="5147" y="32"/>
                </a:cxn>
                <a:cxn ang="0">
                  <a:pos x="4912" y="11"/>
                </a:cxn>
                <a:cxn ang="0">
                  <a:pos x="4506" y="0"/>
                </a:cxn>
                <a:cxn ang="0">
                  <a:pos x="4105" y="4"/>
                </a:cxn>
                <a:cxn ang="0">
                  <a:pos x="676" y="6"/>
                </a:cxn>
                <a:cxn ang="0">
                  <a:pos x="441" y="24"/>
                </a:cxn>
                <a:cxn ang="0">
                  <a:pos x="268" y="75"/>
                </a:cxn>
                <a:cxn ang="0">
                  <a:pos x="147" y="155"/>
                </a:cxn>
                <a:cxn ang="0">
                  <a:pos x="69" y="263"/>
                </a:cxn>
                <a:cxn ang="0">
                  <a:pos x="25" y="395"/>
                </a:cxn>
                <a:cxn ang="0">
                  <a:pos x="5" y="549"/>
                </a:cxn>
                <a:cxn ang="0">
                  <a:pos x="0" y="723"/>
                </a:cxn>
              </a:cxnLst>
              <a:rect l="0" t="0" r="r" b="b"/>
              <a:pathLst>
                <a:path w="6866" h="5463">
                  <a:moveTo>
                    <a:pt x="0" y="916"/>
                  </a:moveTo>
                  <a:lnTo>
                    <a:pt x="904" y="918"/>
                  </a:lnTo>
                  <a:lnTo>
                    <a:pt x="909" y="5461"/>
                  </a:lnTo>
                  <a:lnTo>
                    <a:pt x="2720" y="5463"/>
                  </a:lnTo>
                  <a:lnTo>
                    <a:pt x="2726" y="919"/>
                  </a:lnTo>
                  <a:lnTo>
                    <a:pt x="2830" y="917"/>
                  </a:lnTo>
                  <a:lnTo>
                    <a:pt x="2935" y="916"/>
                  </a:lnTo>
                  <a:lnTo>
                    <a:pt x="3040" y="915"/>
                  </a:lnTo>
                  <a:lnTo>
                    <a:pt x="3144" y="914"/>
                  </a:lnTo>
                  <a:lnTo>
                    <a:pt x="3250" y="914"/>
                  </a:lnTo>
                  <a:lnTo>
                    <a:pt x="3355" y="914"/>
                  </a:lnTo>
                  <a:lnTo>
                    <a:pt x="3460" y="914"/>
                  </a:lnTo>
                  <a:lnTo>
                    <a:pt x="3565" y="915"/>
                  </a:lnTo>
                  <a:lnTo>
                    <a:pt x="3669" y="915"/>
                  </a:lnTo>
                  <a:lnTo>
                    <a:pt x="3775" y="916"/>
                  </a:lnTo>
                  <a:lnTo>
                    <a:pt x="3880" y="916"/>
                  </a:lnTo>
                  <a:lnTo>
                    <a:pt x="3984" y="917"/>
                  </a:lnTo>
                  <a:lnTo>
                    <a:pt x="4089" y="917"/>
                  </a:lnTo>
                  <a:lnTo>
                    <a:pt x="4194" y="918"/>
                  </a:lnTo>
                  <a:lnTo>
                    <a:pt x="4298" y="918"/>
                  </a:lnTo>
                  <a:lnTo>
                    <a:pt x="4402" y="918"/>
                  </a:lnTo>
                  <a:lnTo>
                    <a:pt x="4501" y="918"/>
                  </a:lnTo>
                  <a:lnTo>
                    <a:pt x="4599" y="920"/>
                  </a:lnTo>
                  <a:lnTo>
                    <a:pt x="4646" y="922"/>
                  </a:lnTo>
                  <a:lnTo>
                    <a:pt x="4692" y="926"/>
                  </a:lnTo>
                  <a:lnTo>
                    <a:pt x="4715" y="929"/>
                  </a:lnTo>
                  <a:lnTo>
                    <a:pt x="4736" y="932"/>
                  </a:lnTo>
                  <a:lnTo>
                    <a:pt x="4757" y="935"/>
                  </a:lnTo>
                  <a:lnTo>
                    <a:pt x="4779" y="940"/>
                  </a:lnTo>
                  <a:lnTo>
                    <a:pt x="4799" y="944"/>
                  </a:lnTo>
                  <a:lnTo>
                    <a:pt x="4820" y="950"/>
                  </a:lnTo>
                  <a:lnTo>
                    <a:pt x="4839" y="957"/>
                  </a:lnTo>
                  <a:lnTo>
                    <a:pt x="4859" y="964"/>
                  </a:lnTo>
                  <a:lnTo>
                    <a:pt x="4877" y="972"/>
                  </a:lnTo>
                  <a:lnTo>
                    <a:pt x="4894" y="980"/>
                  </a:lnTo>
                  <a:lnTo>
                    <a:pt x="4912" y="990"/>
                  </a:lnTo>
                  <a:lnTo>
                    <a:pt x="4928" y="1001"/>
                  </a:lnTo>
                  <a:lnTo>
                    <a:pt x="4943" y="1012"/>
                  </a:lnTo>
                  <a:lnTo>
                    <a:pt x="4959" y="1024"/>
                  </a:lnTo>
                  <a:lnTo>
                    <a:pt x="4972" y="1037"/>
                  </a:lnTo>
                  <a:lnTo>
                    <a:pt x="4985" y="1053"/>
                  </a:lnTo>
                  <a:lnTo>
                    <a:pt x="4997" y="1068"/>
                  </a:lnTo>
                  <a:lnTo>
                    <a:pt x="5010" y="1086"/>
                  </a:lnTo>
                  <a:lnTo>
                    <a:pt x="5020" y="1104"/>
                  </a:lnTo>
                  <a:lnTo>
                    <a:pt x="5030" y="1123"/>
                  </a:lnTo>
                  <a:lnTo>
                    <a:pt x="5039" y="1145"/>
                  </a:lnTo>
                  <a:lnTo>
                    <a:pt x="5047" y="1167"/>
                  </a:lnTo>
                  <a:lnTo>
                    <a:pt x="5053" y="1190"/>
                  </a:lnTo>
                  <a:lnTo>
                    <a:pt x="5058" y="1211"/>
                  </a:lnTo>
                  <a:lnTo>
                    <a:pt x="5061" y="1233"/>
                  </a:lnTo>
                  <a:lnTo>
                    <a:pt x="5062" y="1254"/>
                  </a:lnTo>
                  <a:lnTo>
                    <a:pt x="5063" y="1276"/>
                  </a:lnTo>
                  <a:lnTo>
                    <a:pt x="5062" y="1297"/>
                  </a:lnTo>
                  <a:lnTo>
                    <a:pt x="5060" y="1318"/>
                  </a:lnTo>
                  <a:lnTo>
                    <a:pt x="5056" y="1338"/>
                  </a:lnTo>
                  <a:lnTo>
                    <a:pt x="5052" y="1359"/>
                  </a:lnTo>
                  <a:lnTo>
                    <a:pt x="5047" y="1379"/>
                  </a:lnTo>
                  <a:lnTo>
                    <a:pt x="5040" y="1399"/>
                  </a:lnTo>
                  <a:lnTo>
                    <a:pt x="5033" y="1418"/>
                  </a:lnTo>
                  <a:lnTo>
                    <a:pt x="5026" y="1438"/>
                  </a:lnTo>
                  <a:lnTo>
                    <a:pt x="5018" y="1457"/>
                  </a:lnTo>
                  <a:lnTo>
                    <a:pt x="5009" y="1476"/>
                  </a:lnTo>
                  <a:lnTo>
                    <a:pt x="5000" y="1494"/>
                  </a:lnTo>
                  <a:lnTo>
                    <a:pt x="4989" y="1512"/>
                  </a:lnTo>
                  <a:lnTo>
                    <a:pt x="4979" y="1530"/>
                  </a:lnTo>
                  <a:lnTo>
                    <a:pt x="4957" y="1565"/>
                  </a:lnTo>
                  <a:lnTo>
                    <a:pt x="4934" y="1597"/>
                  </a:lnTo>
                  <a:lnTo>
                    <a:pt x="4889" y="1658"/>
                  </a:lnTo>
                  <a:lnTo>
                    <a:pt x="4848" y="1712"/>
                  </a:lnTo>
                  <a:lnTo>
                    <a:pt x="3773" y="3149"/>
                  </a:lnTo>
                  <a:lnTo>
                    <a:pt x="3749" y="3180"/>
                  </a:lnTo>
                  <a:lnTo>
                    <a:pt x="3727" y="3210"/>
                  </a:lnTo>
                  <a:lnTo>
                    <a:pt x="3705" y="3239"/>
                  </a:lnTo>
                  <a:lnTo>
                    <a:pt x="3684" y="3268"/>
                  </a:lnTo>
                  <a:lnTo>
                    <a:pt x="3662" y="3297"/>
                  </a:lnTo>
                  <a:lnTo>
                    <a:pt x="3640" y="3327"/>
                  </a:lnTo>
                  <a:lnTo>
                    <a:pt x="3617" y="3357"/>
                  </a:lnTo>
                  <a:lnTo>
                    <a:pt x="3594" y="3389"/>
                  </a:lnTo>
                  <a:lnTo>
                    <a:pt x="3575" y="3413"/>
                  </a:lnTo>
                  <a:lnTo>
                    <a:pt x="3551" y="3444"/>
                  </a:lnTo>
                  <a:lnTo>
                    <a:pt x="3524" y="3478"/>
                  </a:lnTo>
                  <a:lnTo>
                    <a:pt x="3496" y="3515"/>
                  </a:lnTo>
                  <a:lnTo>
                    <a:pt x="3468" y="3553"/>
                  </a:lnTo>
                  <a:lnTo>
                    <a:pt x="3444" y="3588"/>
                  </a:lnTo>
                  <a:lnTo>
                    <a:pt x="3433" y="3604"/>
                  </a:lnTo>
                  <a:lnTo>
                    <a:pt x="3424" y="3619"/>
                  </a:lnTo>
                  <a:lnTo>
                    <a:pt x="3417" y="3632"/>
                  </a:lnTo>
                  <a:lnTo>
                    <a:pt x="3412" y="3643"/>
                  </a:lnTo>
                  <a:lnTo>
                    <a:pt x="5657" y="3644"/>
                  </a:lnTo>
                  <a:lnTo>
                    <a:pt x="5664" y="3640"/>
                  </a:lnTo>
                  <a:lnTo>
                    <a:pt x="5672" y="3633"/>
                  </a:lnTo>
                  <a:lnTo>
                    <a:pt x="5684" y="3621"/>
                  </a:lnTo>
                  <a:lnTo>
                    <a:pt x="5698" y="3605"/>
                  </a:lnTo>
                  <a:lnTo>
                    <a:pt x="5734" y="3563"/>
                  </a:lnTo>
                  <a:lnTo>
                    <a:pt x="5778" y="3509"/>
                  </a:lnTo>
                  <a:lnTo>
                    <a:pt x="5828" y="3445"/>
                  </a:lnTo>
                  <a:lnTo>
                    <a:pt x="5883" y="3373"/>
                  </a:lnTo>
                  <a:lnTo>
                    <a:pt x="5942" y="3296"/>
                  </a:lnTo>
                  <a:lnTo>
                    <a:pt x="6002" y="3216"/>
                  </a:lnTo>
                  <a:lnTo>
                    <a:pt x="6062" y="3137"/>
                  </a:lnTo>
                  <a:lnTo>
                    <a:pt x="6120" y="3059"/>
                  </a:lnTo>
                  <a:lnTo>
                    <a:pt x="6174" y="2985"/>
                  </a:lnTo>
                  <a:lnTo>
                    <a:pt x="6224" y="2918"/>
                  </a:lnTo>
                  <a:lnTo>
                    <a:pt x="6267" y="2859"/>
                  </a:lnTo>
                  <a:lnTo>
                    <a:pt x="6302" y="2811"/>
                  </a:lnTo>
                  <a:lnTo>
                    <a:pt x="6327" y="2777"/>
                  </a:lnTo>
                  <a:lnTo>
                    <a:pt x="6340" y="2759"/>
                  </a:lnTo>
                  <a:lnTo>
                    <a:pt x="6360" y="2731"/>
                  </a:lnTo>
                  <a:lnTo>
                    <a:pt x="6380" y="2704"/>
                  </a:lnTo>
                  <a:lnTo>
                    <a:pt x="6401" y="2675"/>
                  </a:lnTo>
                  <a:lnTo>
                    <a:pt x="6422" y="2646"/>
                  </a:lnTo>
                  <a:lnTo>
                    <a:pt x="6443" y="2618"/>
                  </a:lnTo>
                  <a:lnTo>
                    <a:pt x="6464" y="2589"/>
                  </a:lnTo>
                  <a:lnTo>
                    <a:pt x="6485" y="2561"/>
                  </a:lnTo>
                  <a:lnTo>
                    <a:pt x="6506" y="2534"/>
                  </a:lnTo>
                  <a:lnTo>
                    <a:pt x="6540" y="2492"/>
                  </a:lnTo>
                  <a:lnTo>
                    <a:pt x="6574" y="2448"/>
                  </a:lnTo>
                  <a:lnTo>
                    <a:pt x="6608" y="2404"/>
                  </a:lnTo>
                  <a:lnTo>
                    <a:pt x="6642" y="2358"/>
                  </a:lnTo>
                  <a:lnTo>
                    <a:pt x="6676" y="2311"/>
                  </a:lnTo>
                  <a:lnTo>
                    <a:pt x="6709" y="2263"/>
                  </a:lnTo>
                  <a:lnTo>
                    <a:pt x="6724" y="2238"/>
                  </a:lnTo>
                  <a:lnTo>
                    <a:pt x="6739" y="2213"/>
                  </a:lnTo>
                  <a:lnTo>
                    <a:pt x="6754" y="2189"/>
                  </a:lnTo>
                  <a:lnTo>
                    <a:pt x="6768" y="2163"/>
                  </a:lnTo>
                  <a:lnTo>
                    <a:pt x="6781" y="2138"/>
                  </a:lnTo>
                  <a:lnTo>
                    <a:pt x="6793" y="2112"/>
                  </a:lnTo>
                  <a:lnTo>
                    <a:pt x="6806" y="2086"/>
                  </a:lnTo>
                  <a:lnTo>
                    <a:pt x="6817" y="2060"/>
                  </a:lnTo>
                  <a:lnTo>
                    <a:pt x="6826" y="2033"/>
                  </a:lnTo>
                  <a:lnTo>
                    <a:pt x="6835" y="2006"/>
                  </a:lnTo>
                  <a:lnTo>
                    <a:pt x="6843" y="1979"/>
                  </a:lnTo>
                  <a:lnTo>
                    <a:pt x="6851" y="1951"/>
                  </a:lnTo>
                  <a:lnTo>
                    <a:pt x="6857" y="1924"/>
                  </a:lnTo>
                  <a:lnTo>
                    <a:pt x="6861" y="1896"/>
                  </a:lnTo>
                  <a:lnTo>
                    <a:pt x="6864" y="1869"/>
                  </a:lnTo>
                  <a:lnTo>
                    <a:pt x="6866" y="1840"/>
                  </a:lnTo>
                  <a:lnTo>
                    <a:pt x="6866" y="1811"/>
                  </a:lnTo>
                  <a:lnTo>
                    <a:pt x="6865" y="1783"/>
                  </a:lnTo>
                  <a:lnTo>
                    <a:pt x="6863" y="1754"/>
                  </a:lnTo>
                  <a:lnTo>
                    <a:pt x="6859" y="1724"/>
                  </a:lnTo>
                  <a:lnTo>
                    <a:pt x="6854" y="1700"/>
                  </a:lnTo>
                  <a:lnTo>
                    <a:pt x="6847" y="1673"/>
                  </a:lnTo>
                  <a:lnTo>
                    <a:pt x="6837" y="1645"/>
                  </a:lnTo>
                  <a:lnTo>
                    <a:pt x="6826" y="1617"/>
                  </a:lnTo>
                  <a:lnTo>
                    <a:pt x="6814" y="1588"/>
                  </a:lnTo>
                  <a:lnTo>
                    <a:pt x="6800" y="1557"/>
                  </a:lnTo>
                  <a:lnTo>
                    <a:pt x="6784" y="1527"/>
                  </a:lnTo>
                  <a:lnTo>
                    <a:pt x="6767" y="1495"/>
                  </a:lnTo>
                  <a:lnTo>
                    <a:pt x="6748" y="1463"/>
                  </a:lnTo>
                  <a:lnTo>
                    <a:pt x="6730" y="1430"/>
                  </a:lnTo>
                  <a:lnTo>
                    <a:pt x="6710" y="1398"/>
                  </a:lnTo>
                  <a:lnTo>
                    <a:pt x="6688" y="1364"/>
                  </a:lnTo>
                  <a:lnTo>
                    <a:pt x="6643" y="1297"/>
                  </a:lnTo>
                  <a:lnTo>
                    <a:pt x="6596" y="1230"/>
                  </a:lnTo>
                  <a:lnTo>
                    <a:pt x="6547" y="1162"/>
                  </a:lnTo>
                  <a:lnTo>
                    <a:pt x="6498" y="1097"/>
                  </a:lnTo>
                  <a:lnTo>
                    <a:pt x="6450" y="1032"/>
                  </a:lnTo>
                  <a:lnTo>
                    <a:pt x="6402" y="971"/>
                  </a:lnTo>
                  <a:lnTo>
                    <a:pt x="6357" y="913"/>
                  </a:lnTo>
                  <a:lnTo>
                    <a:pt x="6314" y="857"/>
                  </a:lnTo>
                  <a:lnTo>
                    <a:pt x="6275" y="807"/>
                  </a:lnTo>
                  <a:lnTo>
                    <a:pt x="6242" y="762"/>
                  </a:lnTo>
                  <a:lnTo>
                    <a:pt x="6199" y="705"/>
                  </a:lnTo>
                  <a:lnTo>
                    <a:pt x="6155" y="649"/>
                  </a:lnTo>
                  <a:lnTo>
                    <a:pt x="6109" y="592"/>
                  </a:lnTo>
                  <a:lnTo>
                    <a:pt x="6063" y="538"/>
                  </a:lnTo>
                  <a:lnTo>
                    <a:pt x="6039" y="511"/>
                  </a:lnTo>
                  <a:lnTo>
                    <a:pt x="6015" y="485"/>
                  </a:lnTo>
                  <a:lnTo>
                    <a:pt x="5990" y="459"/>
                  </a:lnTo>
                  <a:lnTo>
                    <a:pt x="5966" y="434"/>
                  </a:lnTo>
                  <a:lnTo>
                    <a:pt x="5940" y="408"/>
                  </a:lnTo>
                  <a:lnTo>
                    <a:pt x="5914" y="383"/>
                  </a:lnTo>
                  <a:lnTo>
                    <a:pt x="5888" y="360"/>
                  </a:lnTo>
                  <a:lnTo>
                    <a:pt x="5861" y="336"/>
                  </a:lnTo>
                  <a:lnTo>
                    <a:pt x="5834" y="314"/>
                  </a:lnTo>
                  <a:lnTo>
                    <a:pt x="5807" y="291"/>
                  </a:lnTo>
                  <a:lnTo>
                    <a:pt x="5778" y="270"/>
                  </a:lnTo>
                  <a:lnTo>
                    <a:pt x="5749" y="249"/>
                  </a:lnTo>
                  <a:lnTo>
                    <a:pt x="5720" y="229"/>
                  </a:lnTo>
                  <a:lnTo>
                    <a:pt x="5689" y="211"/>
                  </a:lnTo>
                  <a:lnTo>
                    <a:pt x="5658" y="192"/>
                  </a:lnTo>
                  <a:lnTo>
                    <a:pt x="5628" y="174"/>
                  </a:lnTo>
                  <a:lnTo>
                    <a:pt x="5596" y="157"/>
                  </a:lnTo>
                  <a:lnTo>
                    <a:pt x="5563" y="142"/>
                  </a:lnTo>
                  <a:lnTo>
                    <a:pt x="5530" y="127"/>
                  </a:lnTo>
                  <a:lnTo>
                    <a:pt x="5496" y="113"/>
                  </a:lnTo>
                  <a:lnTo>
                    <a:pt x="5461" y="100"/>
                  </a:lnTo>
                  <a:lnTo>
                    <a:pt x="5427" y="89"/>
                  </a:lnTo>
                  <a:lnTo>
                    <a:pt x="5390" y="78"/>
                  </a:lnTo>
                  <a:lnTo>
                    <a:pt x="5353" y="68"/>
                  </a:lnTo>
                  <a:lnTo>
                    <a:pt x="5315" y="60"/>
                  </a:lnTo>
                  <a:lnTo>
                    <a:pt x="5274" y="52"/>
                  </a:lnTo>
                  <a:lnTo>
                    <a:pt x="5233" y="45"/>
                  </a:lnTo>
                  <a:lnTo>
                    <a:pt x="5191" y="38"/>
                  </a:lnTo>
                  <a:lnTo>
                    <a:pt x="5147" y="32"/>
                  </a:lnTo>
                  <a:lnTo>
                    <a:pt x="5102" y="26"/>
                  </a:lnTo>
                  <a:lnTo>
                    <a:pt x="5055" y="22"/>
                  </a:lnTo>
                  <a:lnTo>
                    <a:pt x="5008" y="18"/>
                  </a:lnTo>
                  <a:lnTo>
                    <a:pt x="4912" y="11"/>
                  </a:lnTo>
                  <a:lnTo>
                    <a:pt x="4813" y="6"/>
                  </a:lnTo>
                  <a:lnTo>
                    <a:pt x="4711" y="3"/>
                  </a:lnTo>
                  <a:lnTo>
                    <a:pt x="4609" y="1"/>
                  </a:lnTo>
                  <a:lnTo>
                    <a:pt x="4506" y="0"/>
                  </a:lnTo>
                  <a:lnTo>
                    <a:pt x="4404" y="1"/>
                  </a:lnTo>
                  <a:lnTo>
                    <a:pt x="4302" y="1"/>
                  </a:lnTo>
                  <a:lnTo>
                    <a:pt x="4203" y="2"/>
                  </a:lnTo>
                  <a:lnTo>
                    <a:pt x="4105" y="4"/>
                  </a:lnTo>
                  <a:lnTo>
                    <a:pt x="4011" y="5"/>
                  </a:lnTo>
                  <a:lnTo>
                    <a:pt x="3921" y="6"/>
                  </a:lnTo>
                  <a:lnTo>
                    <a:pt x="3835" y="6"/>
                  </a:lnTo>
                  <a:lnTo>
                    <a:pt x="676" y="6"/>
                  </a:lnTo>
                  <a:lnTo>
                    <a:pt x="611" y="8"/>
                  </a:lnTo>
                  <a:lnTo>
                    <a:pt x="551" y="11"/>
                  </a:lnTo>
                  <a:lnTo>
                    <a:pt x="493" y="17"/>
                  </a:lnTo>
                  <a:lnTo>
                    <a:pt x="441" y="24"/>
                  </a:lnTo>
                  <a:lnTo>
                    <a:pt x="392" y="34"/>
                  </a:lnTo>
                  <a:lnTo>
                    <a:pt x="347" y="46"/>
                  </a:lnTo>
                  <a:lnTo>
                    <a:pt x="305" y="60"/>
                  </a:lnTo>
                  <a:lnTo>
                    <a:pt x="268" y="75"/>
                  </a:lnTo>
                  <a:lnTo>
                    <a:pt x="233" y="93"/>
                  </a:lnTo>
                  <a:lnTo>
                    <a:pt x="201" y="111"/>
                  </a:lnTo>
                  <a:lnTo>
                    <a:pt x="173" y="133"/>
                  </a:lnTo>
                  <a:lnTo>
                    <a:pt x="147" y="155"/>
                  </a:lnTo>
                  <a:lnTo>
                    <a:pt x="124" y="180"/>
                  </a:lnTo>
                  <a:lnTo>
                    <a:pt x="103" y="205"/>
                  </a:lnTo>
                  <a:lnTo>
                    <a:pt x="85" y="233"/>
                  </a:lnTo>
                  <a:lnTo>
                    <a:pt x="69" y="263"/>
                  </a:lnTo>
                  <a:lnTo>
                    <a:pt x="55" y="293"/>
                  </a:lnTo>
                  <a:lnTo>
                    <a:pt x="43" y="326"/>
                  </a:lnTo>
                  <a:lnTo>
                    <a:pt x="34" y="360"/>
                  </a:lnTo>
                  <a:lnTo>
                    <a:pt x="25" y="395"/>
                  </a:lnTo>
                  <a:lnTo>
                    <a:pt x="18" y="432"/>
                  </a:lnTo>
                  <a:lnTo>
                    <a:pt x="12" y="469"/>
                  </a:lnTo>
                  <a:lnTo>
                    <a:pt x="8" y="508"/>
                  </a:lnTo>
                  <a:lnTo>
                    <a:pt x="5" y="549"/>
                  </a:lnTo>
                  <a:lnTo>
                    <a:pt x="3" y="591"/>
                  </a:lnTo>
                  <a:lnTo>
                    <a:pt x="1" y="634"/>
                  </a:lnTo>
                  <a:lnTo>
                    <a:pt x="0" y="678"/>
                  </a:lnTo>
                  <a:lnTo>
                    <a:pt x="0" y="723"/>
                  </a:lnTo>
                  <a:lnTo>
                    <a:pt x="0" y="817"/>
                  </a:lnTo>
                  <a:lnTo>
                    <a:pt x="0" y="916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5" name="Freeform 12"/>
            <p:cNvSpPr>
              <a:spLocks/>
            </p:cNvSpPr>
            <p:nvPr userDrawn="1"/>
          </p:nvSpPr>
          <p:spPr bwMode="auto">
            <a:xfrm>
              <a:off x="5296" y="3022"/>
              <a:ext cx="143" cy="104"/>
            </a:xfrm>
            <a:custGeom>
              <a:avLst/>
              <a:gdLst/>
              <a:ahLst/>
              <a:cxnLst>
                <a:cxn ang="0">
                  <a:pos x="2992" y="2671"/>
                </a:cxn>
                <a:cxn ang="0">
                  <a:pos x="3075" y="2559"/>
                </a:cxn>
                <a:cxn ang="0">
                  <a:pos x="3160" y="2445"/>
                </a:cxn>
                <a:cxn ang="0">
                  <a:pos x="3245" y="2333"/>
                </a:cxn>
                <a:cxn ang="0">
                  <a:pos x="3329" y="2221"/>
                </a:cxn>
                <a:cxn ang="0">
                  <a:pos x="3414" y="2108"/>
                </a:cxn>
                <a:cxn ang="0">
                  <a:pos x="3498" y="1995"/>
                </a:cxn>
                <a:cxn ang="0">
                  <a:pos x="3583" y="1882"/>
                </a:cxn>
                <a:cxn ang="0">
                  <a:pos x="3669" y="1767"/>
                </a:cxn>
                <a:cxn ang="0">
                  <a:pos x="3754" y="1654"/>
                </a:cxn>
                <a:cxn ang="0">
                  <a:pos x="3839" y="1540"/>
                </a:cxn>
                <a:cxn ang="0">
                  <a:pos x="3924" y="1427"/>
                </a:cxn>
                <a:cxn ang="0">
                  <a:pos x="4009" y="1313"/>
                </a:cxn>
                <a:cxn ang="0">
                  <a:pos x="4094" y="1199"/>
                </a:cxn>
                <a:cxn ang="0">
                  <a:pos x="4180" y="1085"/>
                </a:cxn>
                <a:cxn ang="0">
                  <a:pos x="4265" y="970"/>
                </a:cxn>
                <a:cxn ang="0">
                  <a:pos x="4325" y="891"/>
                </a:cxn>
                <a:cxn ang="0">
                  <a:pos x="4389" y="805"/>
                </a:cxn>
                <a:cxn ang="0">
                  <a:pos x="4484" y="680"/>
                </a:cxn>
                <a:cxn ang="0">
                  <a:pos x="4596" y="530"/>
                </a:cxn>
                <a:cxn ang="0">
                  <a:pos x="4715" y="372"/>
                </a:cxn>
                <a:cxn ang="0">
                  <a:pos x="4824" y="224"/>
                </a:cxn>
                <a:cxn ang="0">
                  <a:pos x="4914" y="101"/>
                </a:cxn>
                <a:cxn ang="0">
                  <a:pos x="4970" y="20"/>
                </a:cxn>
                <a:cxn ang="0">
                  <a:pos x="2737" y="0"/>
                </a:cxn>
                <a:cxn ang="0">
                  <a:pos x="2722" y="11"/>
                </a:cxn>
                <a:cxn ang="0">
                  <a:pos x="2695" y="40"/>
                </a:cxn>
                <a:cxn ang="0">
                  <a:pos x="2615" y="138"/>
                </a:cxn>
                <a:cxn ang="0">
                  <a:pos x="2507" y="276"/>
                </a:cxn>
                <a:cxn ang="0">
                  <a:pos x="2388" y="435"/>
                </a:cxn>
                <a:cxn ang="0">
                  <a:pos x="2268" y="597"/>
                </a:cxn>
                <a:cxn ang="0">
                  <a:pos x="2162" y="740"/>
                </a:cxn>
                <a:cxn ang="0">
                  <a:pos x="2082" y="848"/>
                </a:cxn>
                <a:cxn ang="0">
                  <a:pos x="2043" y="901"/>
                </a:cxn>
                <a:cxn ang="0">
                  <a:pos x="1958" y="1015"/>
                </a:cxn>
                <a:cxn ang="0">
                  <a:pos x="1872" y="1130"/>
                </a:cxn>
                <a:cxn ang="0">
                  <a:pos x="1787" y="1243"/>
                </a:cxn>
                <a:cxn ang="0">
                  <a:pos x="1701" y="1357"/>
                </a:cxn>
                <a:cxn ang="0">
                  <a:pos x="1616" y="1471"/>
                </a:cxn>
                <a:cxn ang="0">
                  <a:pos x="1531" y="1585"/>
                </a:cxn>
                <a:cxn ang="0">
                  <a:pos x="1445" y="1699"/>
                </a:cxn>
                <a:cxn ang="0">
                  <a:pos x="1360" y="1812"/>
                </a:cxn>
                <a:cxn ang="0">
                  <a:pos x="314" y="3209"/>
                </a:cxn>
                <a:cxn ang="0">
                  <a:pos x="271" y="3267"/>
                </a:cxn>
                <a:cxn ang="0">
                  <a:pos x="228" y="3324"/>
                </a:cxn>
                <a:cxn ang="0">
                  <a:pos x="184" y="3382"/>
                </a:cxn>
                <a:cxn ang="0">
                  <a:pos x="145" y="3437"/>
                </a:cxn>
                <a:cxn ang="0">
                  <a:pos x="100" y="3494"/>
                </a:cxn>
                <a:cxn ang="0">
                  <a:pos x="53" y="3555"/>
                </a:cxn>
                <a:cxn ang="0">
                  <a:pos x="22" y="3598"/>
                </a:cxn>
                <a:cxn ang="0">
                  <a:pos x="7" y="3624"/>
                </a:cxn>
                <a:cxn ang="0">
                  <a:pos x="2269" y="3637"/>
                </a:cxn>
              </a:cxnLst>
              <a:rect l="0" t="0" r="r" b="b"/>
              <a:pathLst>
                <a:path w="4982" h="3637">
                  <a:moveTo>
                    <a:pt x="2949" y="2728"/>
                  </a:moveTo>
                  <a:lnTo>
                    <a:pt x="2992" y="2671"/>
                  </a:lnTo>
                  <a:lnTo>
                    <a:pt x="3033" y="2615"/>
                  </a:lnTo>
                  <a:lnTo>
                    <a:pt x="3075" y="2559"/>
                  </a:lnTo>
                  <a:lnTo>
                    <a:pt x="3118" y="2502"/>
                  </a:lnTo>
                  <a:lnTo>
                    <a:pt x="3160" y="2445"/>
                  </a:lnTo>
                  <a:lnTo>
                    <a:pt x="3202" y="2389"/>
                  </a:lnTo>
                  <a:lnTo>
                    <a:pt x="3245" y="2333"/>
                  </a:lnTo>
                  <a:lnTo>
                    <a:pt x="3287" y="2277"/>
                  </a:lnTo>
                  <a:lnTo>
                    <a:pt x="3329" y="2221"/>
                  </a:lnTo>
                  <a:lnTo>
                    <a:pt x="3372" y="2164"/>
                  </a:lnTo>
                  <a:lnTo>
                    <a:pt x="3414" y="2108"/>
                  </a:lnTo>
                  <a:lnTo>
                    <a:pt x="3455" y="2052"/>
                  </a:lnTo>
                  <a:lnTo>
                    <a:pt x="3498" y="1995"/>
                  </a:lnTo>
                  <a:lnTo>
                    <a:pt x="3541" y="1938"/>
                  </a:lnTo>
                  <a:lnTo>
                    <a:pt x="3583" y="1882"/>
                  </a:lnTo>
                  <a:lnTo>
                    <a:pt x="3626" y="1825"/>
                  </a:lnTo>
                  <a:lnTo>
                    <a:pt x="3669" y="1767"/>
                  </a:lnTo>
                  <a:lnTo>
                    <a:pt x="3712" y="1710"/>
                  </a:lnTo>
                  <a:lnTo>
                    <a:pt x="3754" y="1654"/>
                  </a:lnTo>
                  <a:lnTo>
                    <a:pt x="3797" y="1596"/>
                  </a:lnTo>
                  <a:lnTo>
                    <a:pt x="3839" y="1540"/>
                  </a:lnTo>
                  <a:lnTo>
                    <a:pt x="3881" y="1483"/>
                  </a:lnTo>
                  <a:lnTo>
                    <a:pt x="3924" y="1427"/>
                  </a:lnTo>
                  <a:lnTo>
                    <a:pt x="3966" y="1369"/>
                  </a:lnTo>
                  <a:lnTo>
                    <a:pt x="4009" y="1313"/>
                  </a:lnTo>
                  <a:lnTo>
                    <a:pt x="4052" y="1256"/>
                  </a:lnTo>
                  <a:lnTo>
                    <a:pt x="4094" y="1199"/>
                  </a:lnTo>
                  <a:lnTo>
                    <a:pt x="4137" y="1142"/>
                  </a:lnTo>
                  <a:lnTo>
                    <a:pt x="4180" y="1085"/>
                  </a:lnTo>
                  <a:lnTo>
                    <a:pt x="4223" y="1027"/>
                  </a:lnTo>
                  <a:lnTo>
                    <a:pt x="4265" y="970"/>
                  </a:lnTo>
                  <a:lnTo>
                    <a:pt x="4308" y="913"/>
                  </a:lnTo>
                  <a:lnTo>
                    <a:pt x="4325" y="891"/>
                  </a:lnTo>
                  <a:lnTo>
                    <a:pt x="4352" y="854"/>
                  </a:lnTo>
                  <a:lnTo>
                    <a:pt x="4389" y="805"/>
                  </a:lnTo>
                  <a:lnTo>
                    <a:pt x="4434" y="747"/>
                  </a:lnTo>
                  <a:lnTo>
                    <a:pt x="4484" y="680"/>
                  </a:lnTo>
                  <a:lnTo>
                    <a:pt x="4539" y="607"/>
                  </a:lnTo>
                  <a:lnTo>
                    <a:pt x="4596" y="530"/>
                  </a:lnTo>
                  <a:lnTo>
                    <a:pt x="4656" y="451"/>
                  </a:lnTo>
                  <a:lnTo>
                    <a:pt x="4715" y="372"/>
                  </a:lnTo>
                  <a:lnTo>
                    <a:pt x="4771" y="296"/>
                  </a:lnTo>
                  <a:lnTo>
                    <a:pt x="4824" y="224"/>
                  </a:lnTo>
                  <a:lnTo>
                    <a:pt x="4873" y="158"/>
                  </a:lnTo>
                  <a:lnTo>
                    <a:pt x="4914" y="101"/>
                  </a:lnTo>
                  <a:lnTo>
                    <a:pt x="4947" y="54"/>
                  </a:lnTo>
                  <a:lnTo>
                    <a:pt x="4970" y="20"/>
                  </a:lnTo>
                  <a:lnTo>
                    <a:pt x="4982" y="1"/>
                  </a:lnTo>
                  <a:lnTo>
                    <a:pt x="2737" y="0"/>
                  </a:lnTo>
                  <a:lnTo>
                    <a:pt x="2731" y="4"/>
                  </a:lnTo>
                  <a:lnTo>
                    <a:pt x="2722" y="11"/>
                  </a:lnTo>
                  <a:lnTo>
                    <a:pt x="2711" y="23"/>
                  </a:lnTo>
                  <a:lnTo>
                    <a:pt x="2695" y="40"/>
                  </a:lnTo>
                  <a:lnTo>
                    <a:pt x="2660" y="83"/>
                  </a:lnTo>
                  <a:lnTo>
                    <a:pt x="2615" y="138"/>
                  </a:lnTo>
                  <a:lnTo>
                    <a:pt x="2564" y="203"/>
                  </a:lnTo>
                  <a:lnTo>
                    <a:pt x="2507" y="276"/>
                  </a:lnTo>
                  <a:lnTo>
                    <a:pt x="2448" y="354"/>
                  </a:lnTo>
                  <a:lnTo>
                    <a:pt x="2388" y="435"/>
                  </a:lnTo>
                  <a:lnTo>
                    <a:pt x="2327" y="517"/>
                  </a:lnTo>
                  <a:lnTo>
                    <a:pt x="2268" y="597"/>
                  </a:lnTo>
                  <a:lnTo>
                    <a:pt x="2212" y="671"/>
                  </a:lnTo>
                  <a:lnTo>
                    <a:pt x="2162" y="740"/>
                  </a:lnTo>
                  <a:lnTo>
                    <a:pt x="2118" y="800"/>
                  </a:lnTo>
                  <a:lnTo>
                    <a:pt x="2082" y="848"/>
                  </a:lnTo>
                  <a:lnTo>
                    <a:pt x="2057" y="883"/>
                  </a:lnTo>
                  <a:lnTo>
                    <a:pt x="2043" y="901"/>
                  </a:lnTo>
                  <a:lnTo>
                    <a:pt x="2001" y="959"/>
                  </a:lnTo>
                  <a:lnTo>
                    <a:pt x="1958" y="1015"/>
                  </a:lnTo>
                  <a:lnTo>
                    <a:pt x="1915" y="1072"/>
                  </a:lnTo>
                  <a:lnTo>
                    <a:pt x="1872" y="1130"/>
                  </a:lnTo>
                  <a:lnTo>
                    <a:pt x="1829" y="1186"/>
                  </a:lnTo>
                  <a:lnTo>
                    <a:pt x="1787" y="1243"/>
                  </a:lnTo>
                  <a:lnTo>
                    <a:pt x="1744" y="1300"/>
                  </a:lnTo>
                  <a:lnTo>
                    <a:pt x="1701" y="1357"/>
                  </a:lnTo>
                  <a:lnTo>
                    <a:pt x="1658" y="1414"/>
                  </a:lnTo>
                  <a:lnTo>
                    <a:pt x="1616" y="1471"/>
                  </a:lnTo>
                  <a:lnTo>
                    <a:pt x="1573" y="1528"/>
                  </a:lnTo>
                  <a:lnTo>
                    <a:pt x="1531" y="1585"/>
                  </a:lnTo>
                  <a:lnTo>
                    <a:pt x="1488" y="1641"/>
                  </a:lnTo>
                  <a:lnTo>
                    <a:pt x="1445" y="1699"/>
                  </a:lnTo>
                  <a:lnTo>
                    <a:pt x="1402" y="1756"/>
                  </a:lnTo>
                  <a:lnTo>
                    <a:pt x="1360" y="1812"/>
                  </a:lnTo>
                  <a:lnTo>
                    <a:pt x="336" y="3180"/>
                  </a:lnTo>
                  <a:lnTo>
                    <a:pt x="314" y="3209"/>
                  </a:lnTo>
                  <a:lnTo>
                    <a:pt x="293" y="3238"/>
                  </a:lnTo>
                  <a:lnTo>
                    <a:pt x="271" y="3267"/>
                  </a:lnTo>
                  <a:lnTo>
                    <a:pt x="250" y="3295"/>
                  </a:lnTo>
                  <a:lnTo>
                    <a:pt x="228" y="3324"/>
                  </a:lnTo>
                  <a:lnTo>
                    <a:pt x="207" y="3353"/>
                  </a:lnTo>
                  <a:lnTo>
                    <a:pt x="184" y="3382"/>
                  </a:lnTo>
                  <a:lnTo>
                    <a:pt x="163" y="3412"/>
                  </a:lnTo>
                  <a:lnTo>
                    <a:pt x="145" y="3437"/>
                  </a:lnTo>
                  <a:lnTo>
                    <a:pt x="122" y="3463"/>
                  </a:lnTo>
                  <a:lnTo>
                    <a:pt x="100" y="3494"/>
                  </a:lnTo>
                  <a:lnTo>
                    <a:pt x="75" y="3525"/>
                  </a:lnTo>
                  <a:lnTo>
                    <a:pt x="53" y="3555"/>
                  </a:lnTo>
                  <a:lnTo>
                    <a:pt x="31" y="3584"/>
                  </a:lnTo>
                  <a:lnTo>
                    <a:pt x="22" y="3598"/>
                  </a:lnTo>
                  <a:lnTo>
                    <a:pt x="14" y="3612"/>
                  </a:lnTo>
                  <a:lnTo>
                    <a:pt x="7" y="3624"/>
                  </a:lnTo>
                  <a:lnTo>
                    <a:pt x="0" y="3635"/>
                  </a:lnTo>
                  <a:lnTo>
                    <a:pt x="2269" y="3637"/>
                  </a:lnTo>
                  <a:lnTo>
                    <a:pt x="2949" y="2728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0519851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8591550" y="4869657"/>
            <a:ext cx="552450" cy="273844"/>
          </a:xfrm>
          <a:prstGeom prst="rect">
            <a:avLst/>
          </a:prstGeom>
          <a:solidFill>
            <a:srgbClr val="E21A1A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C806E5D-40B9-48AA-AED3-3EF30A97FA38}" type="slidenum">
              <a:rPr lang="ru-RU" smtClean="0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pPr/>
              <a:t>‹#›</a:t>
            </a:fld>
            <a:endParaRPr lang="ru-RU" dirty="0">
              <a:solidFill>
                <a:prstClr val="white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313779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195486"/>
            <a:ext cx="8568952" cy="8208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244224" y="1354836"/>
            <a:ext cx="8529889" cy="32956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33210171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2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2700"/>
            <a:ext cx="366712" cy="274638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39"/>
            <a:ext cx="366712" cy="274637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575"/>
            <a:ext cx="366712" cy="274638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1214"/>
            <a:ext cx="366712" cy="274637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0"/>
            <a:ext cx="366712" cy="27463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489"/>
            <a:ext cx="366712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6714"/>
            <a:ext cx="366712" cy="274637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4"/>
            <a:ext cx="366712" cy="274637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1"/>
            <a:ext cx="9144000" cy="103187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79976"/>
            <a:ext cx="9144000" cy="26352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0" y="4945064"/>
            <a:ext cx="406400" cy="134937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832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639"/>
              <a:ext cx="316818" cy="233701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639"/>
              <a:ext cx="434611" cy="347832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16" y="1447801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3" y="4247755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27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7" y="1447801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0" y="4247754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6553200" y="4767264"/>
            <a:ext cx="2133600" cy="274637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85B8F77E-9B37-46FD-A341-37993599287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4"/>
            <a:ext cx="2895600" cy="274637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ru-RU"/>
              <a:t>| Технический совет по безопасности движения поездов | Красноярская дирекция инфраструктуры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519126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3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2700"/>
            <a:ext cx="366712" cy="274638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39"/>
            <a:ext cx="366712" cy="274637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575"/>
            <a:ext cx="366712" cy="274638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1214"/>
            <a:ext cx="366712" cy="274637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0"/>
            <a:ext cx="366712" cy="27463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489"/>
            <a:ext cx="366712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6714"/>
            <a:ext cx="366712" cy="274637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4"/>
            <a:ext cx="366712" cy="274637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1"/>
            <a:ext cx="9144000" cy="103187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79976"/>
            <a:ext cx="9144000" cy="26352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0" y="4945064"/>
            <a:ext cx="406400" cy="134937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832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639"/>
              <a:ext cx="316818" cy="233701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639"/>
              <a:ext cx="434611" cy="347832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16" y="1447801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3" y="4247755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27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7" y="1447801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0" y="4247754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6553200" y="4767264"/>
            <a:ext cx="2133600" cy="274637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85B8F77E-9B37-46FD-A341-37993599287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4"/>
            <a:ext cx="2895600" cy="274637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ru-RU"/>
              <a:t>| Технический совет по безопасности движения поездов | Красноярская дирекция инфраструктуры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519126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3097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38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0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5919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3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1"/>
            <a:ext cx="9144000" cy="1031081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0" y="4945856"/>
            <a:ext cx="406400" cy="13454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494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977"/>
              <a:ext cx="316818" cy="233026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977"/>
              <a:ext cx="434611" cy="347494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15" y="1447799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3" y="4247752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5" y="294025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2" y="1447798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0" y="4247752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EB24B1C-1B60-42BB-9B0C-06C26477C6C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| ЕКАСУИ Дистанции пути| декабрь 201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13697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4"/>
          </p:nvPr>
        </p:nvSpPr>
        <p:spPr>
          <a:xfrm>
            <a:off x="395537" y="1437625"/>
            <a:ext cx="8529889" cy="329563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23528" y="249493"/>
            <a:ext cx="8543382" cy="767426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61213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64832-CE18-488F-B9C5-395821014EB5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3070790"/>
            <a:ext cx="9144000" cy="207271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3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646113" y="4143283"/>
            <a:ext cx="5486400" cy="309766"/>
          </a:xfrm>
          <a:prstGeom prst="rect">
            <a:avLst/>
          </a:prstGeom>
        </p:spPr>
        <p:txBody>
          <a:bodyPr/>
          <a:lstStyle>
            <a:lvl1pPr marL="0" indent="0" eaLnBrk="1" hangingPunct="1"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eaLnBrk="1" hangingPunct="1"/>
            <a:r>
              <a:rPr kumimoji="0" lang="ru-RU" dirty="0" smtClean="0">
                <a:ea typeface="Arial" pitchFamily="34" charset="0"/>
              </a:rPr>
              <a:t>Подзаголовок и/или имя спикера</a:t>
            </a:r>
            <a:endParaRPr kumimoji="0" lang="en-US" dirty="0" smtClean="0">
              <a:ea typeface="Arial" pitchFamily="34" charset="0"/>
            </a:endParaRPr>
          </a:p>
        </p:txBody>
      </p:sp>
      <p:sp>
        <p:nvSpPr>
          <p:cNvPr id="4" name="Заголовок 8"/>
          <p:cNvSpPr>
            <a:spLocks noGrp="1"/>
          </p:cNvSpPr>
          <p:nvPr>
            <p:ph type="title" hasCustomPrompt="1"/>
          </p:nvPr>
        </p:nvSpPr>
        <p:spPr>
          <a:xfrm>
            <a:off x="646113" y="3139878"/>
            <a:ext cx="5688632" cy="660366"/>
          </a:xfrm>
        </p:spPr>
        <p:txBody>
          <a:bodyPr>
            <a:noAutofit/>
          </a:bodyPr>
          <a:lstStyle>
            <a:lvl1pPr>
              <a:defRPr sz="2000" baseline="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 в 1 и 2 строки </a:t>
            </a:r>
            <a:br>
              <a:rPr lang="ru-RU" dirty="0" smtClean="0"/>
            </a:br>
            <a:r>
              <a:rPr lang="ru-RU" dirty="0" smtClean="0"/>
              <a:t>шрифт 20 </a:t>
            </a:r>
            <a:r>
              <a:rPr lang="ru-RU" dirty="0" err="1" smtClean="0"/>
              <a:t>разм</a:t>
            </a:r>
            <a:r>
              <a:rPr lang="ru-RU" dirty="0" smtClean="0"/>
              <a:t>. 3 строки 16 размера</a:t>
            </a:r>
            <a:endParaRPr lang="ru-RU" dirty="0"/>
          </a:p>
        </p:txBody>
      </p:sp>
      <p:sp>
        <p:nvSpPr>
          <p:cNvPr id="5" name="Текст 3"/>
          <p:cNvSpPr>
            <a:spLocks noGrp="1"/>
          </p:cNvSpPr>
          <p:nvPr>
            <p:ph type="body" sz="half" idx="10" hasCustomPrompt="1"/>
          </p:nvPr>
        </p:nvSpPr>
        <p:spPr>
          <a:xfrm>
            <a:off x="646113" y="4625862"/>
            <a:ext cx="5486400" cy="24360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Дата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62335" y="4533012"/>
            <a:ext cx="503853" cy="312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Прямоугольник 6"/>
          <p:cNvSpPr/>
          <p:nvPr userDrawn="1"/>
        </p:nvSpPr>
        <p:spPr>
          <a:xfrm>
            <a:off x="0" y="3047931"/>
            <a:ext cx="9144000" cy="3600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131528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Докла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1800" b="0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7086600" y="4834597"/>
            <a:ext cx="2057400" cy="274637"/>
          </a:xfrm>
        </p:spPr>
        <p:txBody>
          <a:bodyPr/>
          <a:lstStyle/>
          <a:p>
            <a:fld id="{696B805C-3653-4111-9D74-7F4262724AD8}" type="slidenum">
              <a:rPr lang="ru-RU" smtClean="0">
                <a:solidFill>
                  <a:srgbClr val="E7E6E6">
                    <a:lumMod val="25000"/>
                  </a:srgbClr>
                </a:solidFill>
              </a:rPr>
              <a:pPr/>
              <a:t>‹#›</a:t>
            </a:fld>
            <a:endParaRPr lang="ru-RU">
              <a:solidFill>
                <a:srgbClr val="E7E6E6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22159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467544" y="1203598"/>
            <a:ext cx="8047806" cy="2900412"/>
          </a:xfrm>
        </p:spPr>
        <p:txBody>
          <a:bodyPr>
            <a:normAutofit/>
          </a:bodyPr>
          <a:lstStyle>
            <a:lvl1pPr>
              <a:defRPr sz="480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0" y="699542"/>
            <a:ext cx="8244408" cy="1380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grpSp>
        <p:nvGrpSpPr>
          <p:cNvPr id="2" name="Группа 9"/>
          <p:cNvGrpSpPr/>
          <p:nvPr userDrawn="1"/>
        </p:nvGrpSpPr>
        <p:grpSpPr>
          <a:xfrm>
            <a:off x="0" y="770607"/>
            <a:ext cx="9144000" cy="103833"/>
            <a:chOff x="0" y="4085632"/>
            <a:chExt cx="9144000" cy="103833"/>
          </a:xfrm>
        </p:grpSpPr>
        <p:cxnSp>
          <p:nvCxnSpPr>
            <p:cNvPr id="5" name="Прямая соединительная линия 4"/>
            <p:cNvCxnSpPr/>
            <p:nvPr userDrawn="1"/>
          </p:nvCxnSpPr>
          <p:spPr>
            <a:xfrm>
              <a:off x="0" y="4137548"/>
              <a:ext cx="9144000" cy="0"/>
            </a:xfrm>
            <a:prstGeom prst="line">
              <a:avLst/>
            </a:prstGeom>
            <a:ln w="22225">
              <a:solidFill>
                <a:srgbClr val="ED1B2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" name="Группа 5"/>
            <p:cNvGrpSpPr/>
            <p:nvPr userDrawn="1"/>
          </p:nvGrpSpPr>
          <p:grpSpPr>
            <a:xfrm>
              <a:off x="539552" y="4085632"/>
              <a:ext cx="103833" cy="103833"/>
              <a:chOff x="395536" y="4074729"/>
              <a:chExt cx="125638" cy="125638"/>
            </a:xfrm>
          </p:grpSpPr>
          <p:sp>
            <p:nvSpPr>
              <p:cNvPr id="7" name="Овал 6"/>
              <p:cNvSpPr/>
              <p:nvPr userDrawn="1"/>
            </p:nvSpPr>
            <p:spPr>
              <a:xfrm>
                <a:off x="395536" y="4074729"/>
                <a:ext cx="125638" cy="125638"/>
              </a:xfrm>
              <a:prstGeom prst="ellipse">
                <a:avLst/>
              </a:prstGeom>
              <a:solidFill>
                <a:schemeClr val="bg1"/>
              </a:solidFill>
              <a:ln w="22225">
                <a:solidFill>
                  <a:srgbClr val="ED1B2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8" name="Овал 7"/>
              <p:cNvSpPr/>
              <p:nvPr userDrawn="1"/>
            </p:nvSpPr>
            <p:spPr>
              <a:xfrm>
                <a:off x="440158" y="4119351"/>
                <a:ext cx="36394" cy="36394"/>
              </a:xfrm>
              <a:prstGeom prst="ellipse">
                <a:avLst/>
              </a:prstGeom>
              <a:solidFill>
                <a:schemeClr val="bg1"/>
              </a:solidFill>
              <a:ln w="22225">
                <a:solidFill>
                  <a:srgbClr val="ED1B2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4220356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AutoShape 3"/>
          <p:cNvSpPr>
            <a:spLocks noChangeAspect="1" noChangeArrowheads="1" noTextEdit="1"/>
          </p:cNvSpPr>
          <p:nvPr userDrawn="1"/>
        </p:nvSpPr>
        <p:spPr bwMode="auto">
          <a:xfrm>
            <a:off x="0" y="0"/>
            <a:ext cx="9144000" cy="661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0" name="Freeform 5"/>
          <p:cNvSpPr>
            <a:spLocks/>
          </p:cNvSpPr>
          <p:nvPr userDrawn="1"/>
        </p:nvSpPr>
        <p:spPr bwMode="auto">
          <a:xfrm>
            <a:off x="0" y="15478"/>
            <a:ext cx="9144000" cy="646510"/>
          </a:xfrm>
          <a:custGeom>
            <a:avLst/>
            <a:gdLst>
              <a:gd name="T0" fmla="*/ 0 w 23040"/>
              <a:gd name="T1" fmla="*/ 1625 h 1629"/>
              <a:gd name="T2" fmla="*/ 15620 w 23040"/>
              <a:gd name="T3" fmla="*/ 1629 h 1629"/>
              <a:gd name="T4" fmla="*/ 16478 w 23040"/>
              <a:gd name="T5" fmla="*/ 1629 h 1629"/>
              <a:gd name="T6" fmla="*/ 16534 w 23040"/>
              <a:gd name="T7" fmla="*/ 1629 h 1629"/>
              <a:gd name="T8" fmla="*/ 16584 w 23040"/>
              <a:gd name="T9" fmla="*/ 1628 h 1629"/>
              <a:gd name="T10" fmla="*/ 16632 w 23040"/>
              <a:gd name="T11" fmla="*/ 1625 h 1629"/>
              <a:gd name="T12" fmla="*/ 16675 w 23040"/>
              <a:gd name="T13" fmla="*/ 1619 h 1629"/>
              <a:gd name="T14" fmla="*/ 16697 w 23040"/>
              <a:gd name="T15" fmla="*/ 1615 h 1629"/>
              <a:gd name="T16" fmla="*/ 16717 w 23040"/>
              <a:gd name="T17" fmla="*/ 1612 h 1629"/>
              <a:gd name="T18" fmla="*/ 16737 w 23040"/>
              <a:gd name="T19" fmla="*/ 1607 h 1629"/>
              <a:gd name="T20" fmla="*/ 16757 w 23040"/>
              <a:gd name="T21" fmla="*/ 1603 h 1629"/>
              <a:gd name="T22" fmla="*/ 16776 w 23040"/>
              <a:gd name="T23" fmla="*/ 1596 h 1629"/>
              <a:gd name="T24" fmla="*/ 16795 w 23040"/>
              <a:gd name="T25" fmla="*/ 1590 h 1629"/>
              <a:gd name="T26" fmla="*/ 16813 w 23040"/>
              <a:gd name="T27" fmla="*/ 1583 h 1629"/>
              <a:gd name="T28" fmla="*/ 16831 w 23040"/>
              <a:gd name="T29" fmla="*/ 1574 h 1629"/>
              <a:gd name="T30" fmla="*/ 16849 w 23040"/>
              <a:gd name="T31" fmla="*/ 1566 h 1629"/>
              <a:gd name="T32" fmla="*/ 16867 w 23040"/>
              <a:gd name="T33" fmla="*/ 1557 h 1629"/>
              <a:gd name="T34" fmla="*/ 16885 w 23040"/>
              <a:gd name="T35" fmla="*/ 1547 h 1629"/>
              <a:gd name="T36" fmla="*/ 16903 w 23040"/>
              <a:gd name="T37" fmla="*/ 1535 h 1629"/>
              <a:gd name="T38" fmla="*/ 16920 w 23040"/>
              <a:gd name="T39" fmla="*/ 1524 h 1629"/>
              <a:gd name="T40" fmla="*/ 16939 w 23040"/>
              <a:gd name="T41" fmla="*/ 1511 h 1629"/>
              <a:gd name="T42" fmla="*/ 16956 w 23040"/>
              <a:gd name="T43" fmla="*/ 1496 h 1629"/>
              <a:gd name="T44" fmla="*/ 16975 w 23040"/>
              <a:gd name="T45" fmla="*/ 1482 h 1629"/>
              <a:gd name="T46" fmla="*/ 17012 w 23040"/>
              <a:gd name="T47" fmla="*/ 1448 h 1629"/>
              <a:gd name="T48" fmla="*/ 17050 w 23040"/>
              <a:gd name="T49" fmla="*/ 1410 h 1629"/>
              <a:gd name="T50" fmla="*/ 17091 w 23040"/>
              <a:gd name="T51" fmla="*/ 1368 h 1629"/>
              <a:gd name="T52" fmla="*/ 17135 w 23040"/>
              <a:gd name="T53" fmla="*/ 1321 h 1629"/>
              <a:gd name="T54" fmla="*/ 17885 w 23040"/>
              <a:gd name="T55" fmla="*/ 472 h 1629"/>
              <a:gd name="T56" fmla="*/ 17925 w 23040"/>
              <a:gd name="T57" fmla="*/ 428 h 1629"/>
              <a:gd name="T58" fmla="*/ 17965 w 23040"/>
              <a:gd name="T59" fmla="*/ 387 h 1629"/>
              <a:gd name="T60" fmla="*/ 18004 w 23040"/>
              <a:gd name="T61" fmla="*/ 351 h 1629"/>
              <a:gd name="T62" fmla="*/ 18043 w 23040"/>
              <a:gd name="T63" fmla="*/ 317 h 1629"/>
              <a:gd name="T64" fmla="*/ 18063 w 23040"/>
              <a:gd name="T65" fmla="*/ 302 h 1629"/>
              <a:gd name="T66" fmla="*/ 18084 w 23040"/>
              <a:gd name="T67" fmla="*/ 288 h 1629"/>
              <a:gd name="T68" fmla="*/ 18102 w 23040"/>
              <a:gd name="T69" fmla="*/ 274 h 1629"/>
              <a:gd name="T70" fmla="*/ 18122 w 23040"/>
              <a:gd name="T71" fmla="*/ 262 h 1629"/>
              <a:gd name="T72" fmla="*/ 18143 w 23040"/>
              <a:gd name="T73" fmla="*/ 249 h 1629"/>
              <a:gd name="T74" fmla="*/ 18163 w 23040"/>
              <a:gd name="T75" fmla="*/ 238 h 1629"/>
              <a:gd name="T76" fmla="*/ 18183 w 23040"/>
              <a:gd name="T77" fmla="*/ 227 h 1629"/>
              <a:gd name="T78" fmla="*/ 18203 w 23040"/>
              <a:gd name="T79" fmla="*/ 217 h 1629"/>
              <a:gd name="T80" fmla="*/ 18225 w 23040"/>
              <a:gd name="T81" fmla="*/ 209 h 1629"/>
              <a:gd name="T82" fmla="*/ 18245 w 23040"/>
              <a:gd name="T83" fmla="*/ 200 h 1629"/>
              <a:gd name="T84" fmla="*/ 18266 w 23040"/>
              <a:gd name="T85" fmla="*/ 193 h 1629"/>
              <a:gd name="T86" fmla="*/ 18288 w 23040"/>
              <a:gd name="T87" fmla="*/ 184 h 1629"/>
              <a:gd name="T88" fmla="*/ 18311 w 23040"/>
              <a:gd name="T89" fmla="*/ 179 h 1629"/>
              <a:gd name="T90" fmla="*/ 18333 w 23040"/>
              <a:gd name="T91" fmla="*/ 173 h 1629"/>
              <a:gd name="T92" fmla="*/ 18356 w 23040"/>
              <a:gd name="T93" fmla="*/ 167 h 1629"/>
              <a:gd name="T94" fmla="*/ 18379 w 23040"/>
              <a:gd name="T95" fmla="*/ 163 h 1629"/>
              <a:gd name="T96" fmla="*/ 18426 w 23040"/>
              <a:gd name="T97" fmla="*/ 155 h 1629"/>
              <a:gd name="T98" fmla="*/ 18477 w 23040"/>
              <a:gd name="T99" fmla="*/ 151 h 1629"/>
              <a:gd name="T100" fmla="*/ 18528 w 23040"/>
              <a:gd name="T101" fmla="*/ 147 h 1629"/>
              <a:gd name="T102" fmla="*/ 18583 w 23040"/>
              <a:gd name="T103" fmla="*/ 145 h 1629"/>
              <a:gd name="T104" fmla="*/ 23040 w 23040"/>
              <a:gd name="T105" fmla="*/ 145 h 1629"/>
              <a:gd name="T106" fmla="*/ 23040 w 23040"/>
              <a:gd name="T107" fmla="*/ 0 h 1629"/>
              <a:gd name="T108" fmla="*/ 18585 w 23040"/>
              <a:gd name="T109" fmla="*/ 0 h 1629"/>
              <a:gd name="T110" fmla="*/ 0 w 23040"/>
              <a:gd name="T111" fmla="*/ 0 h 1629"/>
              <a:gd name="T112" fmla="*/ 0 w 23040"/>
              <a:gd name="T113" fmla="*/ 1625 h 16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3040" h="1629">
                <a:moveTo>
                  <a:pt x="0" y="1625"/>
                </a:moveTo>
                <a:lnTo>
                  <a:pt x="15620" y="1629"/>
                </a:lnTo>
                <a:lnTo>
                  <a:pt x="16478" y="1629"/>
                </a:lnTo>
                <a:lnTo>
                  <a:pt x="16534" y="1629"/>
                </a:lnTo>
                <a:lnTo>
                  <a:pt x="16584" y="1628"/>
                </a:lnTo>
                <a:lnTo>
                  <a:pt x="16632" y="1625"/>
                </a:lnTo>
                <a:lnTo>
                  <a:pt x="16675" y="1619"/>
                </a:lnTo>
                <a:lnTo>
                  <a:pt x="16697" y="1615"/>
                </a:lnTo>
                <a:lnTo>
                  <a:pt x="16717" y="1612"/>
                </a:lnTo>
                <a:lnTo>
                  <a:pt x="16737" y="1607"/>
                </a:lnTo>
                <a:lnTo>
                  <a:pt x="16757" y="1603"/>
                </a:lnTo>
                <a:lnTo>
                  <a:pt x="16776" y="1596"/>
                </a:lnTo>
                <a:lnTo>
                  <a:pt x="16795" y="1590"/>
                </a:lnTo>
                <a:lnTo>
                  <a:pt x="16813" y="1583"/>
                </a:lnTo>
                <a:lnTo>
                  <a:pt x="16831" y="1574"/>
                </a:lnTo>
                <a:lnTo>
                  <a:pt x="16849" y="1566"/>
                </a:lnTo>
                <a:lnTo>
                  <a:pt x="16867" y="1557"/>
                </a:lnTo>
                <a:lnTo>
                  <a:pt x="16885" y="1547"/>
                </a:lnTo>
                <a:lnTo>
                  <a:pt x="16903" y="1535"/>
                </a:lnTo>
                <a:lnTo>
                  <a:pt x="16920" y="1524"/>
                </a:lnTo>
                <a:lnTo>
                  <a:pt x="16939" y="1511"/>
                </a:lnTo>
                <a:lnTo>
                  <a:pt x="16956" y="1496"/>
                </a:lnTo>
                <a:lnTo>
                  <a:pt x="16975" y="1482"/>
                </a:lnTo>
                <a:lnTo>
                  <a:pt x="17012" y="1448"/>
                </a:lnTo>
                <a:lnTo>
                  <a:pt x="17050" y="1410"/>
                </a:lnTo>
                <a:lnTo>
                  <a:pt x="17091" y="1368"/>
                </a:lnTo>
                <a:lnTo>
                  <a:pt x="17135" y="1321"/>
                </a:lnTo>
                <a:lnTo>
                  <a:pt x="17885" y="472"/>
                </a:lnTo>
                <a:lnTo>
                  <a:pt x="17925" y="428"/>
                </a:lnTo>
                <a:lnTo>
                  <a:pt x="17965" y="387"/>
                </a:lnTo>
                <a:lnTo>
                  <a:pt x="18004" y="351"/>
                </a:lnTo>
                <a:lnTo>
                  <a:pt x="18043" y="317"/>
                </a:lnTo>
                <a:lnTo>
                  <a:pt x="18063" y="302"/>
                </a:lnTo>
                <a:lnTo>
                  <a:pt x="18084" y="288"/>
                </a:lnTo>
                <a:lnTo>
                  <a:pt x="18102" y="274"/>
                </a:lnTo>
                <a:lnTo>
                  <a:pt x="18122" y="262"/>
                </a:lnTo>
                <a:lnTo>
                  <a:pt x="18143" y="249"/>
                </a:lnTo>
                <a:lnTo>
                  <a:pt x="18163" y="238"/>
                </a:lnTo>
                <a:lnTo>
                  <a:pt x="18183" y="227"/>
                </a:lnTo>
                <a:lnTo>
                  <a:pt x="18203" y="217"/>
                </a:lnTo>
                <a:lnTo>
                  <a:pt x="18225" y="209"/>
                </a:lnTo>
                <a:lnTo>
                  <a:pt x="18245" y="200"/>
                </a:lnTo>
                <a:lnTo>
                  <a:pt x="18266" y="193"/>
                </a:lnTo>
                <a:lnTo>
                  <a:pt x="18288" y="184"/>
                </a:lnTo>
                <a:lnTo>
                  <a:pt x="18311" y="179"/>
                </a:lnTo>
                <a:lnTo>
                  <a:pt x="18333" y="173"/>
                </a:lnTo>
                <a:lnTo>
                  <a:pt x="18356" y="167"/>
                </a:lnTo>
                <a:lnTo>
                  <a:pt x="18379" y="163"/>
                </a:lnTo>
                <a:lnTo>
                  <a:pt x="18426" y="155"/>
                </a:lnTo>
                <a:lnTo>
                  <a:pt x="18477" y="151"/>
                </a:lnTo>
                <a:lnTo>
                  <a:pt x="18528" y="147"/>
                </a:lnTo>
                <a:lnTo>
                  <a:pt x="18583" y="145"/>
                </a:lnTo>
                <a:lnTo>
                  <a:pt x="23040" y="145"/>
                </a:lnTo>
                <a:lnTo>
                  <a:pt x="23040" y="0"/>
                </a:lnTo>
                <a:lnTo>
                  <a:pt x="18585" y="0"/>
                </a:lnTo>
                <a:lnTo>
                  <a:pt x="0" y="0"/>
                </a:lnTo>
                <a:lnTo>
                  <a:pt x="0" y="1625"/>
                </a:lnTo>
                <a:close/>
              </a:path>
            </a:pathLst>
          </a:custGeom>
          <a:solidFill>
            <a:srgbClr val="E21A1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1" name="Freeform 6"/>
          <p:cNvSpPr>
            <a:spLocks/>
          </p:cNvSpPr>
          <p:nvPr userDrawn="1"/>
        </p:nvSpPr>
        <p:spPr bwMode="auto">
          <a:xfrm>
            <a:off x="0" y="0"/>
            <a:ext cx="9144000" cy="646510"/>
          </a:xfrm>
          <a:custGeom>
            <a:avLst/>
            <a:gdLst>
              <a:gd name="T0" fmla="*/ 0 w 23040"/>
              <a:gd name="T1" fmla="*/ 1626 h 1629"/>
              <a:gd name="T2" fmla="*/ 15620 w 23040"/>
              <a:gd name="T3" fmla="*/ 1629 h 1629"/>
              <a:gd name="T4" fmla="*/ 16478 w 23040"/>
              <a:gd name="T5" fmla="*/ 1629 h 1629"/>
              <a:gd name="T6" fmla="*/ 16534 w 23040"/>
              <a:gd name="T7" fmla="*/ 1629 h 1629"/>
              <a:gd name="T8" fmla="*/ 16584 w 23040"/>
              <a:gd name="T9" fmla="*/ 1628 h 1629"/>
              <a:gd name="T10" fmla="*/ 16632 w 23040"/>
              <a:gd name="T11" fmla="*/ 1625 h 1629"/>
              <a:gd name="T12" fmla="*/ 16675 w 23040"/>
              <a:gd name="T13" fmla="*/ 1619 h 1629"/>
              <a:gd name="T14" fmla="*/ 16697 w 23040"/>
              <a:gd name="T15" fmla="*/ 1616 h 1629"/>
              <a:gd name="T16" fmla="*/ 16717 w 23040"/>
              <a:gd name="T17" fmla="*/ 1612 h 1629"/>
              <a:gd name="T18" fmla="*/ 16737 w 23040"/>
              <a:gd name="T19" fmla="*/ 1608 h 1629"/>
              <a:gd name="T20" fmla="*/ 16757 w 23040"/>
              <a:gd name="T21" fmla="*/ 1603 h 1629"/>
              <a:gd name="T22" fmla="*/ 16776 w 23040"/>
              <a:gd name="T23" fmla="*/ 1596 h 1629"/>
              <a:gd name="T24" fmla="*/ 16795 w 23040"/>
              <a:gd name="T25" fmla="*/ 1590 h 1629"/>
              <a:gd name="T26" fmla="*/ 16813 w 23040"/>
              <a:gd name="T27" fmla="*/ 1583 h 1629"/>
              <a:gd name="T28" fmla="*/ 16831 w 23040"/>
              <a:gd name="T29" fmla="*/ 1576 h 1629"/>
              <a:gd name="T30" fmla="*/ 16849 w 23040"/>
              <a:gd name="T31" fmla="*/ 1566 h 1629"/>
              <a:gd name="T32" fmla="*/ 16867 w 23040"/>
              <a:gd name="T33" fmla="*/ 1557 h 1629"/>
              <a:gd name="T34" fmla="*/ 16885 w 23040"/>
              <a:gd name="T35" fmla="*/ 1547 h 1629"/>
              <a:gd name="T36" fmla="*/ 16903 w 23040"/>
              <a:gd name="T37" fmla="*/ 1535 h 1629"/>
              <a:gd name="T38" fmla="*/ 16920 w 23040"/>
              <a:gd name="T39" fmla="*/ 1524 h 1629"/>
              <a:gd name="T40" fmla="*/ 16939 w 23040"/>
              <a:gd name="T41" fmla="*/ 1511 h 1629"/>
              <a:gd name="T42" fmla="*/ 16956 w 23040"/>
              <a:gd name="T43" fmla="*/ 1497 h 1629"/>
              <a:gd name="T44" fmla="*/ 16975 w 23040"/>
              <a:gd name="T45" fmla="*/ 1482 h 1629"/>
              <a:gd name="T46" fmla="*/ 17012 w 23040"/>
              <a:gd name="T47" fmla="*/ 1448 h 1629"/>
              <a:gd name="T48" fmla="*/ 17050 w 23040"/>
              <a:gd name="T49" fmla="*/ 1410 h 1629"/>
              <a:gd name="T50" fmla="*/ 17091 w 23040"/>
              <a:gd name="T51" fmla="*/ 1368 h 1629"/>
              <a:gd name="T52" fmla="*/ 17135 w 23040"/>
              <a:gd name="T53" fmla="*/ 1321 h 1629"/>
              <a:gd name="T54" fmla="*/ 17885 w 23040"/>
              <a:gd name="T55" fmla="*/ 472 h 1629"/>
              <a:gd name="T56" fmla="*/ 17925 w 23040"/>
              <a:gd name="T57" fmla="*/ 428 h 1629"/>
              <a:gd name="T58" fmla="*/ 17965 w 23040"/>
              <a:gd name="T59" fmla="*/ 387 h 1629"/>
              <a:gd name="T60" fmla="*/ 18004 w 23040"/>
              <a:gd name="T61" fmla="*/ 351 h 1629"/>
              <a:gd name="T62" fmla="*/ 18043 w 23040"/>
              <a:gd name="T63" fmla="*/ 317 h 1629"/>
              <a:gd name="T64" fmla="*/ 18063 w 23040"/>
              <a:gd name="T65" fmla="*/ 302 h 1629"/>
              <a:gd name="T66" fmla="*/ 18084 w 23040"/>
              <a:gd name="T67" fmla="*/ 288 h 1629"/>
              <a:gd name="T68" fmla="*/ 18102 w 23040"/>
              <a:gd name="T69" fmla="*/ 275 h 1629"/>
              <a:gd name="T70" fmla="*/ 18122 w 23040"/>
              <a:gd name="T71" fmla="*/ 262 h 1629"/>
              <a:gd name="T72" fmla="*/ 18143 w 23040"/>
              <a:gd name="T73" fmla="*/ 249 h 1629"/>
              <a:gd name="T74" fmla="*/ 18163 w 23040"/>
              <a:gd name="T75" fmla="*/ 238 h 1629"/>
              <a:gd name="T76" fmla="*/ 18183 w 23040"/>
              <a:gd name="T77" fmla="*/ 228 h 1629"/>
              <a:gd name="T78" fmla="*/ 18203 w 23040"/>
              <a:gd name="T79" fmla="*/ 218 h 1629"/>
              <a:gd name="T80" fmla="*/ 18225 w 23040"/>
              <a:gd name="T81" fmla="*/ 209 h 1629"/>
              <a:gd name="T82" fmla="*/ 18245 w 23040"/>
              <a:gd name="T83" fmla="*/ 200 h 1629"/>
              <a:gd name="T84" fmla="*/ 18266 w 23040"/>
              <a:gd name="T85" fmla="*/ 193 h 1629"/>
              <a:gd name="T86" fmla="*/ 18288 w 23040"/>
              <a:gd name="T87" fmla="*/ 186 h 1629"/>
              <a:gd name="T88" fmla="*/ 18311 w 23040"/>
              <a:gd name="T89" fmla="*/ 179 h 1629"/>
              <a:gd name="T90" fmla="*/ 18333 w 23040"/>
              <a:gd name="T91" fmla="*/ 174 h 1629"/>
              <a:gd name="T92" fmla="*/ 18356 w 23040"/>
              <a:gd name="T93" fmla="*/ 167 h 1629"/>
              <a:gd name="T94" fmla="*/ 18379 w 23040"/>
              <a:gd name="T95" fmla="*/ 164 h 1629"/>
              <a:gd name="T96" fmla="*/ 18426 w 23040"/>
              <a:gd name="T97" fmla="*/ 156 h 1629"/>
              <a:gd name="T98" fmla="*/ 18477 w 23040"/>
              <a:gd name="T99" fmla="*/ 151 h 1629"/>
              <a:gd name="T100" fmla="*/ 18528 w 23040"/>
              <a:gd name="T101" fmla="*/ 147 h 1629"/>
              <a:gd name="T102" fmla="*/ 18583 w 23040"/>
              <a:gd name="T103" fmla="*/ 145 h 1629"/>
              <a:gd name="T104" fmla="*/ 23040 w 23040"/>
              <a:gd name="T105" fmla="*/ 145 h 1629"/>
              <a:gd name="T106" fmla="*/ 23040 w 23040"/>
              <a:gd name="T107" fmla="*/ 0 h 1629"/>
              <a:gd name="T108" fmla="*/ 18585 w 23040"/>
              <a:gd name="T109" fmla="*/ 0 h 1629"/>
              <a:gd name="T110" fmla="*/ 0 w 23040"/>
              <a:gd name="T111" fmla="*/ 0 h 1629"/>
              <a:gd name="T112" fmla="*/ 0 w 23040"/>
              <a:gd name="T113" fmla="*/ 1626 h 16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3040" h="1629">
                <a:moveTo>
                  <a:pt x="0" y="1626"/>
                </a:moveTo>
                <a:lnTo>
                  <a:pt x="15620" y="1629"/>
                </a:lnTo>
                <a:lnTo>
                  <a:pt x="16478" y="1629"/>
                </a:lnTo>
                <a:lnTo>
                  <a:pt x="16534" y="1629"/>
                </a:lnTo>
                <a:lnTo>
                  <a:pt x="16584" y="1628"/>
                </a:lnTo>
                <a:lnTo>
                  <a:pt x="16632" y="1625"/>
                </a:lnTo>
                <a:lnTo>
                  <a:pt x="16675" y="1619"/>
                </a:lnTo>
                <a:lnTo>
                  <a:pt x="16697" y="1616"/>
                </a:lnTo>
                <a:lnTo>
                  <a:pt x="16717" y="1612"/>
                </a:lnTo>
                <a:lnTo>
                  <a:pt x="16737" y="1608"/>
                </a:lnTo>
                <a:lnTo>
                  <a:pt x="16757" y="1603"/>
                </a:lnTo>
                <a:lnTo>
                  <a:pt x="16776" y="1596"/>
                </a:lnTo>
                <a:lnTo>
                  <a:pt x="16795" y="1590"/>
                </a:lnTo>
                <a:lnTo>
                  <a:pt x="16813" y="1583"/>
                </a:lnTo>
                <a:lnTo>
                  <a:pt x="16831" y="1576"/>
                </a:lnTo>
                <a:lnTo>
                  <a:pt x="16849" y="1566"/>
                </a:lnTo>
                <a:lnTo>
                  <a:pt x="16867" y="1557"/>
                </a:lnTo>
                <a:lnTo>
                  <a:pt x="16885" y="1547"/>
                </a:lnTo>
                <a:lnTo>
                  <a:pt x="16903" y="1535"/>
                </a:lnTo>
                <a:lnTo>
                  <a:pt x="16920" y="1524"/>
                </a:lnTo>
                <a:lnTo>
                  <a:pt x="16939" y="1511"/>
                </a:lnTo>
                <a:lnTo>
                  <a:pt x="16956" y="1497"/>
                </a:lnTo>
                <a:lnTo>
                  <a:pt x="16975" y="1482"/>
                </a:lnTo>
                <a:lnTo>
                  <a:pt x="17012" y="1448"/>
                </a:lnTo>
                <a:lnTo>
                  <a:pt x="17050" y="1410"/>
                </a:lnTo>
                <a:lnTo>
                  <a:pt x="17091" y="1368"/>
                </a:lnTo>
                <a:lnTo>
                  <a:pt x="17135" y="1321"/>
                </a:lnTo>
                <a:lnTo>
                  <a:pt x="17885" y="472"/>
                </a:lnTo>
                <a:lnTo>
                  <a:pt x="17925" y="428"/>
                </a:lnTo>
                <a:lnTo>
                  <a:pt x="17965" y="387"/>
                </a:lnTo>
                <a:lnTo>
                  <a:pt x="18004" y="351"/>
                </a:lnTo>
                <a:lnTo>
                  <a:pt x="18043" y="317"/>
                </a:lnTo>
                <a:lnTo>
                  <a:pt x="18063" y="302"/>
                </a:lnTo>
                <a:lnTo>
                  <a:pt x="18084" y="288"/>
                </a:lnTo>
                <a:lnTo>
                  <a:pt x="18102" y="275"/>
                </a:lnTo>
                <a:lnTo>
                  <a:pt x="18122" y="262"/>
                </a:lnTo>
                <a:lnTo>
                  <a:pt x="18143" y="249"/>
                </a:lnTo>
                <a:lnTo>
                  <a:pt x="18163" y="238"/>
                </a:lnTo>
                <a:lnTo>
                  <a:pt x="18183" y="228"/>
                </a:lnTo>
                <a:lnTo>
                  <a:pt x="18203" y="218"/>
                </a:lnTo>
                <a:lnTo>
                  <a:pt x="18225" y="209"/>
                </a:lnTo>
                <a:lnTo>
                  <a:pt x="18245" y="200"/>
                </a:lnTo>
                <a:lnTo>
                  <a:pt x="18266" y="193"/>
                </a:lnTo>
                <a:lnTo>
                  <a:pt x="18288" y="186"/>
                </a:lnTo>
                <a:lnTo>
                  <a:pt x="18311" y="179"/>
                </a:lnTo>
                <a:lnTo>
                  <a:pt x="18333" y="174"/>
                </a:lnTo>
                <a:lnTo>
                  <a:pt x="18356" y="167"/>
                </a:lnTo>
                <a:lnTo>
                  <a:pt x="18379" y="164"/>
                </a:lnTo>
                <a:lnTo>
                  <a:pt x="18426" y="156"/>
                </a:lnTo>
                <a:lnTo>
                  <a:pt x="18477" y="151"/>
                </a:lnTo>
                <a:lnTo>
                  <a:pt x="18528" y="147"/>
                </a:lnTo>
                <a:lnTo>
                  <a:pt x="18583" y="145"/>
                </a:lnTo>
                <a:lnTo>
                  <a:pt x="23040" y="145"/>
                </a:lnTo>
                <a:lnTo>
                  <a:pt x="23040" y="0"/>
                </a:lnTo>
                <a:lnTo>
                  <a:pt x="18585" y="0"/>
                </a:lnTo>
                <a:lnTo>
                  <a:pt x="0" y="0"/>
                </a:lnTo>
                <a:lnTo>
                  <a:pt x="0" y="162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2" name="Заголовок 1"/>
          <p:cNvSpPr>
            <a:spLocks noGrp="1"/>
          </p:cNvSpPr>
          <p:nvPr userDrawn="1">
            <p:ph type="title"/>
          </p:nvPr>
        </p:nvSpPr>
        <p:spPr>
          <a:xfrm>
            <a:off x="0" y="0"/>
            <a:ext cx="6804248" cy="62753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1200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grpSp>
        <p:nvGrpSpPr>
          <p:cNvPr id="2" name="Группа 12"/>
          <p:cNvGrpSpPr/>
          <p:nvPr userDrawn="1"/>
        </p:nvGrpSpPr>
        <p:grpSpPr>
          <a:xfrm>
            <a:off x="7860561" y="4729766"/>
            <a:ext cx="1283439" cy="390874"/>
            <a:chOff x="9841289" y="4549776"/>
            <a:chExt cx="1887421" cy="573088"/>
          </a:xfrm>
        </p:grpSpPr>
        <p:sp>
          <p:nvSpPr>
            <p:cNvPr id="14" name="Freeform 83"/>
            <p:cNvSpPr>
              <a:spLocks noEditPoints="1"/>
            </p:cNvSpPr>
            <p:nvPr userDrawn="1"/>
          </p:nvSpPr>
          <p:spPr bwMode="auto">
            <a:xfrm>
              <a:off x="9841289" y="4549776"/>
              <a:ext cx="1887416" cy="573088"/>
            </a:xfrm>
            <a:custGeom>
              <a:avLst/>
              <a:gdLst>
                <a:gd name="T0" fmla="*/ 798 w 2898"/>
                <a:gd name="T1" fmla="*/ 1017 h 1082"/>
                <a:gd name="T2" fmla="*/ 801 w 2898"/>
                <a:gd name="T3" fmla="*/ 1017 h 1082"/>
                <a:gd name="T4" fmla="*/ 805 w 2898"/>
                <a:gd name="T5" fmla="*/ 1017 h 1082"/>
                <a:gd name="T6" fmla="*/ 808 w 2898"/>
                <a:gd name="T7" fmla="*/ 1017 h 1082"/>
                <a:gd name="T8" fmla="*/ 812 w 2898"/>
                <a:gd name="T9" fmla="*/ 1017 h 1082"/>
                <a:gd name="T10" fmla="*/ 815 w 2898"/>
                <a:gd name="T11" fmla="*/ 1017 h 1082"/>
                <a:gd name="T12" fmla="*/ 893 w 2898"/>
                <a:gd name="T13" fmla="*/ 1003 h 1082"/>
                <a:gd name="T14" fmla="*/ 1038 w 2898"/>
                <a:gd name="T15" fmla="*/ 864 h 1082"/>
                <a:gd name="T16" fmla="*/ 1381 w 2898"/>
                <a:gd name="T17" fmla="*/ 412 h 1082"/>
                <a:gd name="T18" fmla="*/ 1612 w 2898"/>
                <a:gd name="T19" fmla="*/ 257 h 1082"/>
                <a:gd name="T20" fmla="*/ 2431 w 2898"/>
                <a:gd name="T21" fmla="*/ 135 h 1082"/>
                <a:gd name="T22" fmla="*/ 2595 w 2898"/>
                <a:gd name="T23" fmla="*/ 40 h 1082"/>
                <a:gd name="T24" fmla="*/ 2802 w 2898"/>
                <a:gd name="T25" fmla="*/ 0 h 1082"/>
                <a:gd name="T26" fmla="*/ 2849 w 2898"/>
                <a:gd name="T27" fmla="*/ 40 h 1082"/>
                <a:gd name="T28" fmla="*/ 2608 w 2898"/>
                <a:gd name="T29" fmla="*/ 138 h 1082"/>
                <a:gd name="T30" fmla="*/ 2898 w 2898"/>
                <a:gd name="T31" fmla="*/ 492 h 1082"/>
                <a:gd name="T32" fmla="*/ 2898 w 2898"/>
                <a:gd name="T33" fmla="*/ 511 h 1082"/>
                <a:gd name="T34" fmla="*/ 2898 w 2898"/>
                <a:gd name="T35" fmla="*/ 530 h 1082"/>
                <a:gd name="T36" fmla="*/ 2898 w 2898"/>
                <a:gd name="T37" fmla="*/ 547 h 1082"/>
                <a:gd name="T38" fmla="*/ 2898 w 2898"/>
                <a:gd name="T39" fmla="*/ 567 h 1082"/>
                <a:gd name="T40" fmla="*/ 2898 w 2898"/>
                <a:gd name="T41" fmla="*/ 587 h 1082"/>
                <a:gd name="T42" fmla="*/ 2898 w 2898"/>
                <a:gd name="T43" fmla="*/ 604 h 1082"/>
                <a:gd name="T44" fmla="*/ 2737 w 2898"/>
                <a:gd name="T45" fmla="*/ 665 h 1082"/>
                <a:gd name="T46" fmla="*/ 2405 w 2898"/>
                <a:gd name="T47" fmla="*/ 674 h 1082"/>
                <a:gd name="T48" fmla="*/ 2279 w 2898"/>
                <a:gd name="T49" fmla="*/ 777 h 1082"/>
                <a:gd name="T50" fmla="*/ 2128 w 2898"/>
                <a:gd name="T51" fmla="*/ 935 h 1082"/>
                <a:gd name="T52" fmla="*/ 2010 w 2898"/>
                <a:gd name="T53" fmla="*/ 950 h 1082"/>
                <a:gd name="T54" fmla="*/ 1778 w 2898"/>
                <a:gd name="T55" fmla="*/ 1049 h 1082"/>
                <a:gd name="T56" fmla="*/ 1541 w 2898"/>
                <a:gd name="T57" fmla="*/ 1081 h 1082"/>
                <a:gd name="T58" fmla="*/ 1501 w 2898"/>
                <a:gd name="T59" fmla="*/ 1081 h 1082"/>
                <a:gd name="T60" fmla="*/ 1489 w 2898"/>
                <a:gd name="T61" fmla="*/ 1081 h 1082"/>
                <a:gd name="T62" fmla="*/ 1479 w 2898"/>
                <a:gd name="T63" fmla="*/ 1081 h 1082"/>
                <a:gd name="T64" fmla="*/ 1467 w 2898"/>
                <a:gd name="T65" fmla="*/ 1081 h 1082"/>
                <a:gd name="T66" fmla="*/ 1455 w 2898"/>
                <a:gd name="T67" fmla="*/ 1081 h 1082"/>
                <a:gd name="T68" fmla="*/ 1445 w 2898"/>
                <a:gd name="T69" fmla="*/ 1081 h 1082"/>
                <a:gd name="T70" fmla="*/ 1437 w 2898"/>
                <a:gd name="T71" fmla="*/ 1061 h 1082"/>
                <a:gd name="T72" fmla="*/ 1448 w 2898"/>
                <a:gd name="T73" fmla="*/ 1061 h 1082"/>
                <a:gd name="T74" fmla="*/ 1460 w 2898"/>
                <a:gd name="T75" fmla="*/ 1061 h 1082"/>
                <a:gd name="T76" fmla="*/ 1472 w 2898"/>
                <a:gd name="T77" fmla="*/ 1061 h 1082"/>
                <a:gd name="T78" fmla="*/ 1483 w 2898"/>
                <a:gd name="T79" fmla="*/ 1061 h 1082"/>
                <a:gd name="T80" fmla="*/ 1495 w 2898"/>
                <a:gd name="T81" fmla="*/ 1061 h 1082"/>
                <a:gd name="T82" fmla="*/ 1507 w 2898"/>
                <a:gd name="T83" fmla="*/ 1061 h 1082"/>
                <a:gd name="T84" fmla="*/ 1652 w 2898"/>
                <a:gd name="T85" fmla="*/ 1032 h 1082"/>
                <a:gd name="T86" fmla="*/ 1030 w 2898"/>
                <a:gd name="T87" fmla="*/ 950 h 1082"/>
                <a:gd name="T88" fmla="*/ 889 w 2898"/>
                <a:gd name="T89" fmla="*/ 1028 h 1082"/>
                <a:gd name="T90" fmla="*/ 815 w 2898"/>
                <a:gd name="T91" fmla="*/ 1037 h 1082"/>
                <a:gd name="T92" fmla="*/ 812 w 2898"/>
                <a:gd name="T93" fmla="*/ 1037 h 1082"/>
                <a:gd name="T94" fmla="*/ 808 w 2898"/>
                <a:gd name="T95" fmla="*/ 1037 h 1082"/>
                <a:gd name="T96" fmla="*/ 805 w 2898"/>
                <a:gd name="T97" fmla="*/ 1037 h 1082"/>
                <a:gd name="T98" fmla="*/ 801 w 2898"/>
                <a:gd name="T99" fmla="*/ 1037 h 1082"/>
                <a:gd name="T100" fmla="*/ 798 w 2898"/>
                <a:gd name="T101" fmla="*/ 1037 h 1082"/>
                <a:gd name="T102" fmla="*/ 55 w 2898"/>
                <a:gd name="T103" fmla="*/ 1017 h 1082"/>
                <a:gd name="T104" fmla="*/ 2019 w 2898"/>
                <a:gd name="T105" fmla="*/ 929 h 1082"/>
                <a:gd name="T106" fmla="*/ 2133 w 2898"/>
                <a:gd name="T107" fmla="*/ 907 h 1082"/>
                <a:gd name="T108" fmla="*/ 2272 w 2898"/>
                <a:gd name="T109" fmla="*/ 747 h 1082"/>
                <a:gd name="T110" fmla="*/ 1853 w 2898"/>
                <a:gd name="T111" fmla="*/ 873 h 1082"/>
                <a:gd name="T112" fmla="*/ 1421 w 2898"/>
                <a:gd name="T113" fmla="*/ 617 h 1082"/>
                <a:gd name="T114" fmla="*/ 1268 w 2898"/>
                <a:gd name="T115" fmla="*/ 672 h 10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98" h="1082">
                  <a:moveTo>
                    <a:pt x="55" y="1017"/>
                  </a:moveTo>
                  <a:lnTo>
                    <a:pt x="796" y="1017"/>
                  </a:lnTo>
                  <a:lnTo>
                    <a:pt x="796" y="1017"/>
                  </a:lnTo>
                  <a:lnTo>
                    <a:pt x="797" y="1017"/>
                  </a:lnTo>
                  <a:lnTo>
                    <a:pt x="797" y="1017"/>
                  </a:lnTo>
                  <a:lnTo>
                    <a:pt x="797" y="1017"/>
                  </a:lnTo>
                  <a:lnTo>
                    <a:pt x="797" y="1017"/>
                  </a:lnTo>
                  <a:lnTo>
                    <a:pt x="798" y="1017"/>
                  </a:lnTo>
                  <a:lnTo>
                    <a:pt x="798" y="1017"/>
                  </a:lnTo>
                  <a:lnTo>
                    <a:pt x="798" y="1017"/>
                  </a:lnTo>
                  <a:lnTo>
                    <a:pt x="799" y="1017"/>
                  </a:lnTo>
                  <a:lnTo>
                    <a:pt x="799" y="1017"/>
                  </a:lnTo>
                  <a:lnTo>
                    <a:pt x="799" y="1017"/>
                  </a:lnTo>
                  <a:lnTo>
                    <a:pt x="799" y="1017"/>
                  </a:lnTo>
                  <a:lnTo>
                    <a:pt x="800" y="1017"/>
                  </a:lnTo>
                  <a:lnTo>
                    <a:pt x="800" y="1017"/>
                  </a:lnTo>
                  <a:lnTo>
                    <a:pt x="800" y="1017"/>
                  </a:lnTo>
                  <a:lnTo>
                    <a:pt x="801" y="1017"/>
                  </a:lnTo>
                  <a:lnTo>
                    <a:pt x="801" y="1017"/>
                  </a:lnTo>
                  <a:lnTo>
                    <a:pt x="801" y="1017"/>
                  </a:lnTo>
                  <a:lnTo>
                    <a:pt x="801" y="1017"/>
                  </a:lnTo>
                  <a:lnTo>
                    <a:pt x="803" y="1017"/>
                  </a:lnTo>
                  <a:lnTo>
                    <a:pt x="803" y="1017"/>
                  </a:lnTo>
                  <a:lnTo>
                    <a:pt x="803" y="1017"/>
                  </a:lnTo>
                  <a:lnTo>
                    <a:pt x="804" y="1017"/>
                  </a:lnTo>
                  <a:lnTo>
                    <a:pt x="804" y="1017"/>
                  </a:lnTo>
                  <a:lnTo>
                    <a:pt x="804" y="1017"/>
                  </a:lnTo>
                  <a:lnTo>
                    <a:pt x="804" y="1017"/>
                  </a:lnTo>
                  <a:lnTo>
                    <a:pt x="805" y="1017"/>
                  </a:lnTo>
                  <a:lnTo>
                    <a:pt x="805" y="1017"/>
                  </a:lnTo>
                  <a:lnTo>
                    <a:pt x="805" y="1017"/>
                  </a:lnTo>
                  <a:lnTo>
                    <a:pt x="806" y="1017"/>
                  </a:lnTo>
                  <a:lnTo>
                    <a:pt x="806" y="1017"/>
                  </a:lnTo>
                  <a:lnTo>
                    <a:pt x="806" y="1017"/>
                  </a:lnTo>
                  <a:lnTo>
                    <a:pt x="806" y="1017"/>
                  </a:lnTo>
                  <a:lnTo>
                    <a:pt x="807" y="1017"/>
                  </a:lnTo>
                  <a:lnTo>
                    <a:pt x="807" y="1017"/>
                  </a:lnTo>
                  <a:lnTo>
                    <a:pt x="807" y="1017"/>
                  </a:lnTo>
                  <a:lnTo>
                    <a:pt x="808" y="1017"/>
                  </a:lnTo>
                  <a:lnTo>
                    <a:pt x="808" y="1017"/>
                  </a:lnTo>
                  <a:lnTo>
                    <a:pt x="808" y="1017"/>
                  </a:lnTo>
                  <a:lnTo>
                    <a:pt x="810" y="1017"/>
                  </a:lnTo>
                  <a:lnTo>
                    <a:pt x="810" y="1017"/>
                  </a:lnTo>
                  <a:lnTo>
                    <a:pt x="810" y="1017"/>
                  </a:lnTo>
                  <a:lnTo>
                    <a:pt x="810" y="1017"/>
                  </a:lnTo>
                  <a:lnTo>
                    <a:pt x="811" y="1017"/>
                  </a:lnTo>
                  <a:lnTo>
                    <a:pt x="811" y="1017"/>
                  </a:lnTo>
                  <a:lnTo>
                    <a:pt x="811" y="1017"/>
                  </a:lnTo>
                  <a:lnTo>
                    <a:pt x="812" y="1017"/>
                  </a:lnTo>
                  <a:lnTo>
                    <a:pt x="812" y="1017"/>
                  </a:lnTo>
                  <a:lnTo>
                    <a:pt x="812" y="1017"/>
                  </a:lnTo>
                  <a:lnTo>
                    <a:pt x="812" y="1017"/>
                  </a:lnTo>
                  <a:lnTo>
                    <a:pt x="813" y="1017"/>
                  </a:lnTo>
                  <a:lnTo>
                    <a:pt x="813" y="1017"/>
                  </a:lnTo>
                  <a:lnTo>
                    <a:pt x="813" y="1017"/>
                  </a:lnTo>
                  <a:lnTo>
                    <a:pt x="814" y="1017"/>
                  </a:lnTo>
                  <a:lnTo>
                    <a:pt x="814" y="1017"/>
                  </a:lnTo>
                  <a:lnTo>
                    <a:pt x="814" y="1017"/>
                  </a:lnTo>
                  <a:lnTo>
                    <a:pt x="814" y="1017"/>
                  </a:lnTo>
                  <a:lnTo>
                    <a:pt x="815" y="1017"/>
                  </a:lnTo>
                  <a:lnTo>
                    <a:pt x="815" y="1017"/>
                  </a:lnTo>
                  <a:lnTo>
                    <a:pt x="815" y="1017"/>
                  </a:lnTo>
                  <a:lnTo>
                    <a:pt x="817" y="1017"/>
                  </a:lnTo>
                  <a:lnTo>
                    <a:pt x="817" y="1017"/>
                  </a:lnTo>
                  <a:lnTo>
                    <a:pt x="817" y="1017"/>
                  </a:lnTo>
                  <a:lnTo>
                    <a:pt x="817" y="1017"/>
                  </a:lnTo>
                  <a:lnTo>
                    <a:pt x="836" y="1017"/>
                  </a:lnTo>
                  <a:lnTo>
                    <a:pt x="855" y="1014"/>
                  </a:lnTo>
                  <a:lnTo>
                    <a:pt x="874" y="1010"/>
                  </a:lnTo>
                  <a:lnTo>
                    <a:pt x="893" y="1003"/>
                  </a:lnTo>
                  <a:lnTo>
                    <a:pt x="911" y="993"/>
                  </a:lnTo>
                  <a:lnTo>
                    <a:pt x="930" y="981"/>
                  </a:lnTo>
                  <a:lnTo>
                    <a:pt x="949" y="966"/>
                  </a:lnTo>
                  <a:lnTo>
                    <a:pt x="968" y="950"/>
                  </a:lnTo>
                  <a:lnTo>
                    <a:pt x="113" y="950"/>
                  </a:lnTo>
                  <a:lnTo>
                    <a:pt x="131" y="929"/>
                  </a:lnTo>
                  <a:lnTo>
                    <a:pt x="987" y="929"/>
                  </a:lnTo>
                  <a:lnTo>
                    <a:pt x="993" y="923"/>
                  </a:lnTo>
                  <a:lnTo>
                    <a:pt x="998" y="917"/>
                  </a:lnTo>
                  <a:lnTo>
                    <a:pt x="1038" y="864"/>
                  </a:lnTo>
                  <a:lnTo>
                    <a:pt x="1077" y="813"/>
                  </a:lnTo>
                  <a:lnTo>
                    <a:pt x="1117" y="760"/>
                  </a:lnTo>
                  <a:lnTo>
                    <a:pt x="1157" y="708"/>
                  </a:lnTo>
                  <a:lnTo>
                    <a:pt x="1197" y="655"/>
                  </a:lnTo>
                  <a:lnTo>
                    <a:pt x="1238" y="602"/>
                  </a:lnTo>
                  <a:lnTo>
                    <a:pt x="1278" y="549"/>
                  </a:lnTo>
                  <a:lnTo>
                    <a:pt x="1317" y="497"/>
                  </a:lnTo>
                  <a:lnTo>
                    <a:pt x="1338" y="466"/>
                  </a:lnTo>
                  <a:lnTo>
                    <a:pt x="1359" y="438"/>
                  </a:lnTo>
                  <a:lnTo>
                    <a:pt x="1381" y="412"/>
                  </a:lnTo>
                  <a:lnTo>
                    <a:pt x="1402" y="388"/>
                  </a:lnTo>
                  <a:lnTo>
                    <a:pt x="1424" y="366"/>
                  </a:lnTo>
                  <a:lnTo>
                    <a:pt x="1446" y="346"/>
                  </a:lnTo>
                  <a:lnTo>
                    <a:pt x="1469" y="327"/>
                  </a:lnTo>
                  <a:lnTo>
                    <a:pt x="1492" y="311"/>
                  </a:lnTo>
                  <a:lnTo>
                    <a:pt x="1515" y="295"/>
                  </a:lnTo>
                  <a:lnTo>
                    <a:pt x="1538" y="282"/>
                  </a:lnTo>
                  <a:lnTo>
                    <a:pt x="1563" y="272"/>
                  </a:lnTo>
                  <a:lnTo>
                    <a:pt x="1588" y="264"/>
                  </a:lnTo>
                  <a:lnTo>
                    <a:pt x="1612" y="257"/>
                  </a:lnTo>
                  <a:lnTo>
                    <a:pt x="1637" y="252"/>
                  </a:lnTo>
                  <a:lnTo>
                    <a:pt x="1662" y="249"/>
                  </a:lnTo>
                  <a:lnTo>
                    <a:pt x="1688" y="249"/>
                  </a:lnTo>
                  <a:lnTo>
                    <a:pt x="2328" y="249"/>
                  </a:lnTo>
                  <a:lnTo>
                    <a:pt x="2352" y="217"/>
                  </a:lnTo>
                  <a:lnTo>
                    <a:pt x="2377" y="188"/>
                  </a:lnTo>
                  <a:lnTo>
                    <a:pt x="2390" y="174"/>
                  </a:lnTo>
                  <a:lnTo>
                    <a:pt x="2403" y="161"/>
                  </a:lnTo>
                  <a:lnTo>
                    <a:pt x="2417" y="148"/>
                  </a:lnTo>
                  <a:lnTo>
                    <a:pt x="2431" y="135"/>
                  </a:lnTo>
                  <a:lnTo>
                    <a:pt x="2446" y="123"/>
                  </a:lnTo>
                  <a:lnTo>
                    <a:pt x="2462" y="113"/>
                  </a:lnTo>
                  <a:lnTo>
                    <a:pt x="2477" y="101"/>
                  </a:lnTo>
                  <a:lnTo>
                    <a:pt x="2492" y="92"/>
                  </a:lnTo>
                  <a:lnTo>
                    <a:pt x="2508" y="81"/>
                  </a:lnTo>
                  <a:lnTo>
                    <a:pt x="2525" y="72"/>
                  </a:lnTo>
                  <a:lnTo>
                    <a:pt x="2541" y="64"/>
                  </a:lnTo>
                  <a:lnTo>
                    <a:pt x="2559" y="55"/>
                  </a:lnTo>
                  <a:lnTo>
                    <a:pt x="2577" y="47"/>
                  </a:lnTo>
                  <a:lnTo>
                    <a:pt x="2595" y="40"/>
                  </a:lnTo>
                  <a:lnTo>
                    <a:pt x="2614" y="34"/>
                  </a:lnTo>
                  <a:lnTo>
                    <a:pt x="2632" y="28"/>
                  </a:lnTo>
                  <a:lnTo>
                    <a:pt x="2652" y="23"/>
                  </a:lnTo>
                  <a:lnTo>
                    <a:pt x="2672" y="18"/>
                  </a:lnTo>
                  <a:lnTo>
                    <a:pt x="2693" y="13"/>
                  </a:lnTo>
                  <a:lnTo>
                    <a:pt x="2713" y="10"/>
                  </a:lnTo>
                  <a:lnTo>
                    <a:pt x="2735" y="6"/>
                  </a:lnTo>
                  <a:lnTo>
                    <a:pt x="2756" y="4"/>
                  </a:lnTo>
                  <a:lnTo>
                    <a:pt x="2779" y="3"/>
                  </a:lnTo>
                  <a:lnTo>
                    <a:pt x="2802" y="0"/>
                  </a:lnTo>
                  <a:lnTo>
                    <a:pt x="2825" y="0"/>
                  </a:lnTo>
                  <a:lnTo>
                    <a:pt x="2849" y="0"/>
                  </a:lnTo>
                  <a:lnTo>
                    <a:pt x="2873" y="0"/>
                  </a:lnTo>
                  <a:lnTo>
                    <a:pt x="2898" y="1"/>
                  </a:lnTo>
                  <a:lnTo>
                    <a:pt x="2898" y="11"/>
                  </a:lnTo>
                  <a:lnTo>
                    <a:pt x="2898" y="20"/>
                  </a:lnTo>
                  <a:lnTo>
                    <a:pt x="2898" y="30"/>
                  </a:lnTo>
                  <a:lnTo>
                    <a:pt x="2898" y="39"/>
                  </a:lnTo>
                  <a:lnTo>
                    <a:pt x="2873" y="39"/>
                  </a:lnTo>
                  <a:lnTo>
                    <a:pt x="2849" y="40"/>
                  </a:lnTo>
                  <a:lnTo>
                    <a:pt x="2824" y="42"/>
                  </a:lnTo>
                  <a:lnTo>
                    <a:pt x="2800" y="46"/>
                  </a:lnTo>
                  <a:lnTo>
                    <a:pt x="2775" y="52"/>
                  </a:lnTo>
                  <a:lnTo>
                    <a:pt x="2751" y="59"/>
                  </a:lnTo>
                  <a:lnTo>
                    <a:pt x="2727" y="67"/>
                  </a:lnTo>
                  <a:lnTo>
                    <a:pt x="2703" y="78"/>
                  </a:lnTo>
                  <a:lnTo>
                    <a:pt x="2679" y="89"/>
                  </a:lnTo>
                  <a:lnTo>
                    <a:pt x="2655" y="103"/>
                  </a:lnTo>
                  <a:lnTo>
                    <a:pt x="2631" y="120"/>
                  </a:lnTo>
                  <a:lnTo>
                    <a:pt x="2608" y="138"/>
                  </a:lnTo>
                  <a:lnTo>
                    <a:pt x="2584" y="158"/>
                  </a:lnTo>
                  <a:lnTo>
                    <a:pt x="2561" y="181"/>
                  </a:lnTo>
                  <a:lnTo>
                    <a:pt x="2538" y="206"/>
                  </a:lnTo>
                  <a:lnTo>
                    <a:pt x="2514" y="233"/>
                  </a:lnTo>
                  <a:lnTo>
                    <a:pt x="2504" y="249"/>
                  </a:lnTo>
                  <a:lnTo>
                    <a:pt x="2898" y="249"/>
                  </a:lnTo>
                  <a:lnTo>
                    <a:pt x="2898" y="486"/>
                  </a:lnTo>
                  <a:lnTo>
                    <a:pt x="2898" y="489"/>
                  </a:lnTo>
                  <a:lnTo>
                    <a:pt x="2898" y="490"/>
                  </a:lnTo>
                  <a:lnTo>
                    <a:pt x="2898" y="492"/>
                  </a:lnTo>
                  <a:lnTo>
                    <a:pt x="2898" y="494"/>
                  </a:lnTo>
                  <a:lnTo>
                    <a:pt x="2898" y="496"/>
                  </a:lnTo>
                  <a:lnTo>
                    <a:pt x="2898" y="497"/>
                  </a:lnTo>
                  <a:lnTo>
                    <a:pt x="2898" y="500"/>
                  </a:lnTo>
                  <a:lnTo>
                    <a:pt x="2898" y="500"/>
                  </a:lnTo>
                  <a:lnTo>
                    <a:pt x="2898" y="503"/>
                  </a:lnTo>
                  <a:lnTo>
                    <a:pt x="2898" y="506"/>
                  </a:lnTo>
                  <a:lnTo>
                    <a:pt x="2898" y="506"/>
                  </a:lnTo>
                  <a:lnTo>
                    <a:pt x="2898" y="508"/>
                  </a:lnTo>
                  <a:lnTo>
                    <a:pt x="2898" y="511"/>
                  </a:lnTo>
                  <a:lnTo>
                    <a:pt x="2898" y="512"/>
                  </a:lnTo>
                  <a:lnTo>
                    <a:pt x="2898" y="514"/>
                  </a:lnTo>
                  <a:lnTo>
                    <a:pt x="2898" y="517"/>
                  </a:lnTo>
                  <a:lnTo>
                    <a:pt x="2898" y="518"/>
                  </a:lnTo>
                  <a:lnTo>
                    <a:pt x="2898" y="520"/>
                  </a:lnTo>
                  <a:lnTo>
                    <a:pt x="2898" y="523"/>
                  </a:lnTo>
                  <a:lnTo>
                    <a:pt x="2898" y="524"/>
                  </a:lnTo>
                  <a:lnTo>
                    <a:pt x="2898" y="525"/>
                  </a:lnTo>
                  <a:lnTo>
                    <a:pt x="2898" y="528"/>
                  </a:lnTo>
                  <a:lnTo>
                    <a:pt x="2898" y="530"/>
                  </a:lnTo>
                  <a:lnTo>
                    <a:pt x="2898" y="531"/>
                  </a:lnTo>
                  <a:lnTo>
                    <a:pt x="2898" y="533"/>
                  </a:lnTo>
                  <a:lnTo>
                    <a:pt x="2898" y="535"/>
                  </a:lnTo>
                  <a:lnTo>
                    <a:pt x="2898" y="537"/>
                  </a:lnTo>
                  <a:lnTo>
                    <a:pt x="2898" y="539"/>
                  </a:lnTo>
                  <a:lnTo>
                    <a:pt x="2898" y="541"/>
                  </a:lnTo>
                  <a:lnTo>
                    <a:pt x="2898" y="542"/>
                  </a:lnTo>
                  <a:lnTo>
                    <a:pt x="2898" y="545"/>
                  </a:lnTo>
                  <a:lnTo>
                    <a:pt x="2898" y="547"/>
                  </a:lnTo>
                  <a:lnTo>
                    <a:pt x="2898" y="547"/>
                  </a:lnTo>
                  <a:lnTo>
                    <a:pt x="2898" y="551"/>
                  </a:lnTo>
                  <a:lnTo>
                    <a:pt x="2898" y="553"/>
                  </a:lnTo>
                  <a:lnTo>
                    <a:pt x="2898" y="553"/>
                  </a:lnTo>
                  <a:lnTo>
                    <a:pt x="2898" y="556"/>
                  </a:lnTo>
                  <a:lnTo>
                    <a:pt x="2898" y="558"/>
                  </a:lnTo>
                  <a:lnTo>
                    <a:pt x="2898" y="559"/>
                  </a:lnTo>
                  <a:lnTo>
                    <a:pt x="2898" y="561"/>
                  </a:lnTo>
                  <a:lnTo>
                    <a:pt x="2898" y="563"/>
                  </a:lnTo>
                  <a:lnTo>
                    <a:pt x="2898" y="565"/>
                  </a:lnTo>
                  <a:lnTo>
                    <a:pt x="2898" y="567"/>
                  </a:lnTo>
                  <a:lnTo>
                    <a:pt x="2898" y="569"/>
                  </a:lnTo>
                  <a:lnTo>
                    <a:pt x="2898" y="571"/>
                  </a:lnTo>
                  <a:lnTo>
                    <a:pt x="2898" y="573"/>
                  </a:lnTo>
                  <a:lnTo>
                    <a:pt x="2898" y="575"/>
                  </a:lnTo>
                  <a:lnTo>
                    <a:pt x="2898" y="575"/>
                  </a:lnTo>
                  <a:lnTo>
                    <a:pt x="2898" y="579"/>
                  </a:lnTo>
                  <a:lnTo>
                    <a:pt x="2898" y="581"/>
                  </a:lnTo>
                  <a:lnTo>
                    <a:pt x="2898" y="581"/>
                  </a:lnTo>
                  <a:lnTo>
                    <a:pt x="2898" y="585"/>
                  </a:lnTo>
                  <a:lnTo>
                    <a:pt x="2898" y="587"/>
                  </a:lnTo>
                  <a:lnTo>
                    <a:pt x="2898" y="587"/>
                  </a:lnTo>
                  <a:lnTo>
                    <a:pt x="2898" y="589"/>
                  </a:lnTo>
                  <a:lnTo>
                    <a:pt x="2898" y="593"/>
                  </a:lnTo>
                  <a:lnTo>
                    <a:pt x="2898" y="593"/>
                  </a:lnTo>
                  <a:lnTo>
                    <a:pt x="2898" y="595"/>
                  </a:lnTo>
                  <a:lnTo>
                    <a:pt x="2898" y="599"/>
                  </a:lnTo>
                  <a:lnTo>
                    <a:pt x="2898" y="599"/>
                  </a:lnTo>
                  <a:lnTo>
                    <a:pt x="2898" y="601"/>
                  </a:lnTo>
                  <a:lnTo>
                    <a:pt x="2898" y="603"/>
                  </a:lnTo>
                  <a:lnTo>
                    <a:pt x="2898" y="604"/>
                  </a:lnTo>
                  <a:lnTo>
                    <a:pt x="2898" y="607"/>
                  </a:lnTo>
                  <a:lnTo>
                    <a:pt x="2898" y="609"/>
                  </a:lnTo>
                  <a:lnTo>
                    <a:pt x="2898" y="610"/>
                  </a:lnTo>
                  <a:lnTo>
                    <a:pt x="2898" y="613"/>
                  </a:lnTo>
                  <a:lnTo>
                    <a:pt x="2898" y="615"/>
                  </a:lnTo>
                  <a:lnTo>
                    <a:pt x="2898" y="616"/>
                  </a:lnTo>
                  <a:lnTo>
                    <a:pt x="2898" y="665"/>
                  </a:lnTo>
                  <a:lnTo>
                    <a:pt x="2844" y="665"/>
                  </a:lnTo>
                  <a:lnTo>
                    <a:pt x="2790" y="665"/>
                  </a:lnTo>
                  <a:lnTo>
                    <a:pt x="2737" y="665"/>
                  </a:lnTo>
                  <a:lnTo>
                    <a:pt x="2683" y="665"/>
                  </a:lnTo>
                  <a:lnTo>
                    <a:pt x="2629" y="665"/>
                  </a:lnTo>
                  <a:lnTo>
                    <a:pt x="2575" y="665"/>
                  </a:lnTo>
                  <a:lnTo>
                    <a:pt x="2521" y="665"/>
                  </a:lnTo>
                  <a:lnTo>
                    <a:pt x="2467" y="665"/>
                  </a:lnTo>
                  <a:lnTo>
                    <a:pt x="2453" y="665"/>
                  </a:lnTo>
                  <a:lnTo>
                    <a:pt x="2441" y="667"/>
                  </a:lnTo>
                  <a:lnTo>
                    <a:pt x="2429" y="669"/>
                  </a:lnTo>
                  <a:lnTo>
                    <a:pt x="2416" y="671"/>
                  </a:lnTo>
                  <a:lnTo>
                    <a:pt x="2405" y="674"/>
                  </a:lnTo>
                  <a:lnTo>
                    <a:pt x="2394" y="677"/>
                  </a:lnTo>
                  <a:lnTo>
                    <a:pt x="2383" y="682"/>
                  </a:lnTo>
                  <a:lnTo>
                    <a:pt x="2374" y="686"/>
                  </a:lnTo>
                  <a:lnTo>
                    <a:pt x="2363" y="692"/>
                  </a:lnTo>
                  <a:lnTo>
                    <a:pt x="2354" y="698"/>
                  </a:lnTo>
                  <a:lnTo>
                    <a:pt x="2346" y="704"/>
                  </a:lnTo>
                  <a:lnTo>
                    <a:pt x="2336" y="711"/>
                  </a:lnTo>
                  <a:lnTo>
                    <a:pt x="2320" y="726"/>
                  </a:lnTo>
                  <a:lnTo>
                    <a:pt x="2306" y="744"/>
                  </a:lnTo>
                  <a:lnTo>
                    <a:pt x="2279" y="777"/>
                  </a:lnTo>
                  <a:lnTo>
                    <a:pt x="2253" y="811"/>
                  </a:lnTo>
                  <a:lnTo>
                    <a:pt x="2226" y="844"/>
                  </a:lnTo>
                  <a:lnTo>
                    <a:pt x="2201" y="878"/>
                  </a:lnTo>
                  <a:lnTo>
                    <a:pt x="2188" y="894"/>
                  </a:lnTo>
                  <a:lnTo>
                    <a:pt x="2173" y="908"/>
                  </a:lnTo>
                  <a:lnTo>
                    <a:pt x="2164" y="914"/>
                  </a:lnTo>
                  <a:lnTo>
                    <a:pt x="2156" y="919"/>
                  </a:lnTo>
                  <a:lnTo>
                    <a:pt x="2147" y="925"/>
                  </a:lnTo>
                  <a:lnTo>
                    <a:pt x="2138" y="930"/>
                  </a:lnTo>
                  <a:lnTo>
                    <a:pt x="2128" y="935"/>
                  </a:lnTo>
                  <a:lnTo>
                    <a:pt x="2118" y="938"/>
                  </a:lnTo>
                  <a:lnTo>
                    <a:pt x="2106" y="942"/>
                  </a:lnTo>
                  <a:lnTo>
                    <a:pt x="2094" y="945"/>
                  </a:lnTo>
                  <a:lnTo>
                    <a:pt x="2081" y="946"/>
                  </a:lnTo>
                  <a:lnTo>
                    <a:pt x="2068" y="949"/>
                  </a:lnTo>
                  <a:lnTo>
                    <a:pt x="2054" y="950"/>
                  </a:lnTo>
                  <a:lnTo>
                    <a:pt x="2039" y="950"/>
                  </a:lnTo>
                  <a:lnTo>
                    <a:pt x="2030" y="950"/>
                  </a:lnTo>
                  <a:lnTo>
                    <a:pt x="2019" y="950"/>
                  </a:lnTo>
                  <a:lnTo>
                    <a:pt x="2010" y="950"/>
                  </a:lnTo>
                  <a:lnTo>
                    <a:pt x="2001" y="950"/>
                  </a:lnTo>
                  <a:lnTo>
                    <a:pt x="1937" y="950"/>
                  </a:lnTo>
                  <a:lnTo>
                    <a:pt x="1919" y="965"/>
                  </a:lnTo>
                  <a:lnTo>
                    <a:pt x="1901" y="980"/>
                  </a:lnTo>
                  <a:lnTo>
                    <a:pt x="1882" y="993"/>
                  </a:lnTo>
                  <a:lnTo>
                    <a:pt x="1863" y="1006"/>
                  </a:lnTo>
                  <a:lnTo>
                    <a:pt x="1843" y="1019"/>
                  </a:lnTo>
                  <a:lnTo>
                    <a:pt x="1822" y="1029"/>
                  </a:lnTo>
                  <a:lnTo>
                    <a:pt x="1801" y="1040"/>
                  </a:lnTo>
                  <a:lnTo>
                    <a:pt x="1778" y="1049"/>
                  </a:lnTo>
                  <a:lnTo>
                    <a:pt x="1755" y="1058"/>
                  </a:lnTo>
                  <a:lnTo>
                    <a:pt x="1732" y="1065"/>
                  </a:lnTo>
                  <a:lnTo>
                    <a:pt x="1707" y="1070"/>
                  </a:lnTo>
                  <a:lnTo>
                    <a:pt x="1681" y="1075"/>
                  </a:lnTo>
                  <a:lnTo>
                    <a:pt x="1655" y="1079"/>
                  </a:lnTo>
                  <a:lnTo>
                    <a:pt x="1629" y="1081"/>
                  </a:lnTo>
                  <a:lnTo>
                    <a:pt x="1600" y="1082"/>
                  </a:lnTo>
                  <a:lnTo>
                    <a:pt x="1571" y="1081"/>
                  </a:lnTo>
                  <a:lnTo>
                    <a:pt x="1556" y="1081"/>
                  </a:lnTo>
                  <a:lnTo>
                    <a:pt x="1541" y="1081"/>
                  </a:lnTo>
                  <a:lnTo>
                    <a:pt x="1526" y="1081"/>
                  </a:lnTo>
                  <a:lnTo>
                    <a:pt x="1510" y="1081"/>
                  </a:lnTo>
                  <a:lnTo>
                    <a:pt x="1509" y="1081"/>
                  </a:lnTo>
                  <a:lnTo>
                    <a:pt x="1508" y="1081"/>
                  </a:lnTo>
                  <a:lnTo>
                    <a:pt x="1507" y="1081"/>
                  </a:lnTo>
                  <a:lnTo>
                    <a:pt x="1506" y="1081"/>
                  </a:lnTo>
                  <a:lnTo>
                    <a:pt x="1505" y="1081"/>
                  </a:lnTo>
                  <a:lnTo>
                    <a:pt x="1503" y="1081"/>
                  </a:lnTo>
                  <a:lnTo>
                    <a:pt x="1502" y="1081"/>
                  </a:lnTo>
                  <a:lnTo>
                    <a:pt x="1501" y="1081"/>
                  </a:lnTo>
                  <a:lnTo>
                    <a:pt x="1500" y="1081"/>
                  </a:lnTo>
                  <a:lnTo>
                    <a:pt x="1499" y="1081"/>
                  </a:lnTo>
                  <a:lnTo>
                    <a:pt x="1498" y="1081"/>
                  </a:lnTo>
                  <a:lnTo>
                    <a:pt x="1496" y="1081"/>
                  </a:lnTo>
                  <a:lnTo>
                    <a:pt x="1495" y="1081"/>
                  </a:lnTo>
                  <a:lnTo>
                    <a:pt x="1494" y="1081"/>
                  </a:lnTo>
                  <a:lnTo>
                    <a:pt x="1493" y="1081"/>
                  </a:lnTo>
                  <a:lnTo>
                    <a:pt x="1492" y="1081"/>
                  </a:lnTo>
                  <a:lnTo>
                    <a:pt x="1490" y="1081"/>
                  </a:lnTo>
                  <a:lnTo>
                    <a:pt x="1489" y="1081"/>
                  </a:lnTo>
                  <a:lnTo>
                    <a:pt x="1488" y="1081"/>
                  </a:lnTo>
                  <a:lnTo>
                    <a:pt x="1487" y="1081"/>
                  </a:lnTo>
                  <a:lnTo>
                    <a:pt x="1487" y="1081"/>
                  </a:lnTo>
                  <a:lnTo>
                    <a:pt x="1486" y="1081"/>
                  </a:lnTo>
                  <a:lnTo>
                    <a:pt x="1485" y="1081"/>
                  </a:lnTo>
                  <a:lnTo>
                    <a:pt x="1483" y="1081"/>
                  </a:lnTo>
                  <a:lnTo>
                    <a:pt x="1482" y="1081"/>
                  </a:lnTo>
                  <a:lnTo>
                    <a:pt x="1481" y="1081"/>
                  </a:lnTo>
                  <a:lnTo>
                    <a:pt x="1480" y="1081"/>
                  </a:lnTo>
                  <a:lnTo>
                    <a:pt x="1479" y="1081"/>
                  </a:lnTo>
                  <a:lnTo>
                    <a:pt x="1478" y="1081"/>
                  </a:lnTo>
                  <a:lnTo>
                    <a:pt x="1476" y="1081"/>
                  </a:lnTo>
                  <a:lnTo>
                    <a:pt x="1475" y="1081"/>
                  </a:lnTo>
                  <a:lnTo>
                    <a:pt x="1474" y="1081"/>
                  </a:lnTo>
                  <a:lnTo>
                    <a:pt x="1473" y="1081"/>
                  </a:lnTo>
                  <a:lnTo>
                    <a:pt x="1472" y="1081"/>
                  </a:lnTo>
                  <a:lnTo>
                    <a:pt x="1471" y="1081"/>
                  </a:lnTo>
                  <a:lnTo>
                    <a:pt x="1469" y="1081"/>
                  </a:lnTo>
                  <a:lnTo>
                    <a:pt x="1468" y="1081"/>
                  </a:lnTo>
                  <a:lnTo>
                    <a:pt x="1467" y="1081"/>
                  </a:lnTo>
                  <a:lnTo>
                    <a:pt x="1466" y="1081"/>
                  </a:lnTo>
                  <a:lnTo>
                    <a:pt x="1465" y="1081"/>
                  </a:lnTo>
                  <a:lnTo>
                    <a:pt x="1464" y="1081"/>
                  </a:lnTo>
                  <a:lnTo>
                    <a:pt x="1462" y="1081"/>
                  </a:lnTo>
                  <a:lnTo>
                    <a:pt x="1461" y="1081"/>
                  </a:lnTo>
                  <a:lnTo>
                    <a:pt x="1460" y="1081"/>
                  </a:lnTo>
                  <a:lnTo>
                    <a:pt x="1459" y="1081"/>
                  </a:lnTo>
                  <a:lnTo>
                    <a:pt x="1458" y="1081"/>
                  </a:lnTo>
                  <a:lnTo>
                    <a:pt x="1457" y="1081"/>
                  </a:lnTo>
                  <a:lnTo>
                    <a:pt x="1455" y="1081"/>
                  </a:lnTo>
                  <a:lnTo>
                    <a:pt x="1454" y="1081"/>
                  </a:lnTo>
                  <a:lnTo>
                    <a:pt x="1453" y="1081"/>
                  </a:lnTo>
                  <a:lnTo>
                    <a:pt x="1453" y="1081"/>
                  </a:lnTo>
                  <a:lnTo>
                    <a:pt x="1452" y="1081"/>
                  </a:lnTo>
                  <a:lnTo>
                    <a:pt x="1451" y="1081"/>
                  </a:lnTo>
                  <a:lnTo>
                    <a:pt x="1450" y="1081"/>
                  </a:lnTo>
                  <a:lnTo>
                    <a:pt x="1448" y="1081"/>
                  </a:lnTo>
                  <a:lnTo>
                    <a:pt x="1447" y="1081"/>
                  </a:lnTo>
                  <a:lnTo>
                    <a:pt x="1446" y="1081"/>
                  </a:lnTo>
                  <a:lnTo>
                    <a:pt x="1445" y="1081"/>
                  </a:lnTo>
                  <a:lnTo>
                    <a:pt x="1444" y="1081"/>
                  </a:lnTo>
                  <a:lnTo>
                    <a:pt x="1443" y="1081"/>
                  </a:lnTo>
                  <a:lnTo>
                    <a:pt x="1441" y="1081"/>
                  </a:lnTo>
                  <a:lnTo>
                    <a:pt x="1440" y="1081"/>
                  </a:lnTo>
                  <a:lnTo>
                    <a:pt x="1439" y="1081"/>
                  </a:lnTo>
                  <a:lnTo>
                    <a:pt x="1438" y="1081"/>
                  </a:lnTo>
                  <a:lnTo>
                    <a:pt x="0" y="1081"/>
                  </a:lnTo>
                  <a:lnTo>
                    <a:pt x="17" y="1061"/>
                  </a:lnTo>
                  <a:lnTo>
                    <a:pt x="1436" y="1061"/>
                  </a:lnTo>
                  <a:lnTo>
                    <a:pt x="1437" y="1061"/>
                  </a:lnTo>
                  <a:lnTo>
                    <a:pt x="1438" y="1061"/>
                  </a:lnTo>
                  <a:lnTo>
                    <a:pt x="1439" y="1061"/>
                  </a:lnTo>
                  <a:lnTo>
                    <a:pt x="1440" y="1061"/>
                  </a:lnTo>
                  <a:lnTo>
                    <a:pt x="1441" y="1061"/>
                  </a:lnTo>
                  <a:lnTo>
                    <a:pt x="1443" y="1061"/>
                  </a:lnTo>
                  <a:lnTo>
                    <a:pt x="1444" y="1061"/>
                  </a:lnTo>
                  <a:lnTo>
                    <a:pt x="1445" y="1061"/>
                  </a:lnTo>
                  <a:lnTo>
                    <a:pt x="1446" y="1061"/>
                  </a:lnTo>
                  <a:lnTo>
                    <a:pt x="1447" y="1061"/>
                  </a:lnTo>
                  <a:lnTo>
                    <a:pt x="1448" y="1061"/>
                  </a:lnTo>
                  <a:lnTo>
                    <a:pt x="1450" y="1061"/>
                  </a:lnTo>
                  <a:lnTo>
                    <a:pt x="1451" y="1061"/>
                  </a:lnTo>
                  <a:lnTo>
                    <a:pt x="1452" y="1061"/>
                  </a:lnTo>
                  <a:lnTo>
                    <a:pt x="1453" y="1061"/>
                  </a:lnTo>
                  <a:lnTo>
                    <a:pt x="1454" y="1061"/>
                  </a:lnTo>
                  <a:lnTo>
                    <a:pt x="1455" y="1061"/>
                  </a:lnTo>
                  <a:lnTo>
                    <a:pt x="1457" y="1061"/>
                  </a:lnTo>
                  <a:lnTo>
                    <a:pt x="1458" y="1061"/>
                  </a:lnTo>
                  <a:lnTo>
                    <a:pt x="1459" y="1061"/>
                  </a:lnTo>
                  <a:lnTo>
                    <a:pt x="1460" y="1061"/>
                  </a:lnTo>
                  <a:lnTo>
                    <a:pt x="1461" y="1061"/>
                  </a:lnTo>
                  <a:lnTo>
                    <a:pt x="1462" y="1061"/>
                  </a:lnTo>
                  <a:lnTo>
                    <a:pt x="1464" y="1061"/>
                  </a:lnTo>
                  <a:lnTo>
                    <a:pt x="1465" y="1061"/>
                  </a:lnTo>
                  <a:lnTo>
                    <a:pt x="1466" y="1061"/>
                  </a:lnTo>
                  <a:lnTo>
                    <a:pt x="1467" y="1061"/>
                  </a:lnTo>
                  <a:lnTo>
                    <a:pt x="1468" y="1061"/>
                  </a:lnTo>
                  <a:lnTo>
                    <a:pt x="1469" y="1061"/>
                  </a:lnTo>
                  <a:lnTo>
                    <a:pt x="1471" y="1061"/>
                  </a:lnTo>
                  <a:lnTo>
                    <a:pt x="1472" y="1061"/>
                  </a:lnTo>
                  <a:lnTo>
                    <a:pt x="1473" y="1061"/>
                  </a:lnTo>
                  <a:lnTo>
                    <a:pt x="1474" y="1061"/>
                  </a:lnTo>
                  <a:lnTo>
                    <a:pt x="1475" y="1061"/>
                  </a:lnTo>
                  <a:lnTo>
                    <a:pt x="1476" y="1061"/>
                  </a:lnTo>
                  <a:lnTo>
                    <a:pt x="1478" y="1061"/>
                  </a:lnTo>
                  <a:lnTo>
                    <a:pt x="1479" y="1061"/>
                  </a:lnTo>
                  <a:lnTo>
                    <a:pt x="1480" y="1061"/>
                  </a:lnTo>
                  <a:lnTo>
                    <a:pt x="1481" y="1061"/>
                  </a:lnTo>
                  <a:lnTo>
                    <a:pt x="1482" y="1061"/>
                  </a:lnTo>
                  <a:lnTo>
                    <a:pt x="1483" y="1061"/>
                  </a:lnTo>
                  <a:lnTo>
                    <a:pt x="1485" y="1061"/>
                  </a:lnTo>
                  <a:lnTo>
                    <a:pt x="1486" y="1061"/>
                  </a:lnTo>
                  <a:lnTo>
                    <a:pt x="1487" y="1061"/>
                  </a:lnTo>
                  <a:lnTo>
                    <a:pt x="1488" y="1061"/>
                  </a:lnTo>
                  <a:lnTo>
                    <a:pt x="1489" y="1061"/>
                  </a:lnTo>
                  <a:lnTo>
                    <a:pt x="1490" y="1061"/>
                  </a:lnTo>
                  <a:lnTo>
                    <a:pt x="1492" y="1061"/>
                  </a:lnTo>
                  <a:lnTo>
                    <a:pt x="1493" y="1061"/>
                  </a:lnTo>
                  <a:lnTo>
                    <a:pt x="1494" y="1061"/>
                  </a:lnTo>
                  <a:lnTo>
                    <a:pt x="1495" y="1061"/>
                  </a:lnTo>
                  <a:lnTo>
                    <a:pt x="1496" y="1061"/>
                  </a:lnTo>
                  <a:lnTo>
                    <a:pt x="1498" y="1061"/>
                  </a:lnTo>
                  <a:lnTo>
                    <a:pt x="1499" y="1061"/>
                  </a:lnTo>
                  <a:lnTo>
                    <a:pt x="1500" y="1061"/>
                  </a:lnTo>
                  <a:lnTo>
                    <a:pt x="1501" y="1061"/>
                  </a:lnTo>
                  <a:lnTo>
                    <a:pt x="1502" y="1061"/>
                  </a:lnTo>
                  <a:lnTo>
                    <a:pt x="1503" y="1061"/>
                  </a:lnTo>
                  <a:lnTo>
                    <a:pt x="1505" y="1061"/>
                  </a:lnTo>
                  <a:lnTo>
                    <a:pt x="1506" y="1061"/>
                  </a:lnTo>
                  <a:lnTo>
                    <a:pt x="1507" y="1061"/>
                  </a:lnTo>
                  <a:lnTo>
                    <a:pt x="1508" y="1061"/>
                  </a:lnTo>
                  <a:lnTo>
                    <a:pt x="1509" y="1061"/>
                  </a:lnTo>
                  <a:lnTo>
                    <a:pt x="1510" y="1061"/>
                  </a:lnTo>
                  <a:lnTo>
                    <a:pt x="1533" y="1059"/>
                  </a:lnTo>
                  <a:lnTo>
                    <a:pt x="1554" y="1056"/>
                  </a:lnTo>
                  <a:lnTo>
                    <a:pt x="1575" y="1053"/>
                  </a:lnTo>
                  <a:lnTo>
                    <a:pt x="1595" y="1048"/>
                  </a:lnTo>
                  <a:lnTo>
                    <a:pt x="1615" y="1044"/>
                  </a:lnTo>
                  <a:lnTo>
                    <a:pt x="1633" y="1038"/>
                  </a:lnTo>
                  <a:lnTo>
                    <a:pt x="1652" y="1032"/>
                  </a:lnTo>
                  <a:lnTo>
                    <a:pt x="1670" y="1025"/>
                  </a:lnTo>
                  <a:lnTo>
                    <a:pt x="1686" y="1018"/>
                  </a:lnTo>
                  <a:lnTo>
                    <a:pt x="1702" y="1010"/>
                  </a:lnTo>
                  <a:lnTo>
                    <a:pt x="1719" y="1001"/>
                  </a:lnTo>
                  <a:lnTo>
                    <a:pt x="1733" y="992"/>
                  </a:lnTo>
                  <a:lnTo>
                    <a:pt x="1748" y="983"/>
                  </a:lnTo>
                  <a:lnTo>
                    <a:pt x="1762" y="972"/>
                  </a:lnTo>
                  <a:lnTo>
                    <a:pt x="1775" y="960"/>
                  </a:lnTo>
                  <a:lnTo>
                    <a:pt x="1788" y="950"/>
                  </a:lnTo>
                  <a:lnTo>
                    <a:pt x="1030" y="950"/>
                  </a:lnTo>
                  <a:lnTo>
                    <a:pt x="1008" y="967"/>
                  </a:lnTo>
                  <a:lnTo>
                    <a:pt x="989" y="984"/>
                  </a:lnTo>
                  <a:lnTo>
                    <a:pt x="978" y="992"/>
                  </a:lnTo>
                  <a:lnTo>
                    <a:pt x="966" y="999"/>
                  </a:lnTo>
                  <a:lnTo>
                    <a:pt x="956" y="1005"/>
                  </a:lnTo>
                  <a:lnTo>
                    <a:pt x="943" y="1011"/>
                  </a:lnTo>
                  <a:lnTo>
                    <a:pt x="931" y="1015"/>
                  </a:lnTo>
                  <a:lnTo>
                    <a:pt x="917" y="1020"/>
                  </a:lnTo>
                  <a:lnTo>
                    <a:pt x="903" y="1025"/>
                  </a:lnTo>
                  <a:lnTo>
                    <a:pt x="889" y="1028"/>
                  </a:lnTo>
                  <a:lnTo>
                    <a:pt x="873" y="1032"/>
                  </a:lnTo>
                  <a:lnTo>
                    <a:pt x="855" y="1034"/>
                  </a:lnTo>
                  <a:lnTo>
                    <a:pt x="836" y="1035"/>
                  </a:lnTo>
                  <a:lnTo>
                    <a:pt x="817" y="1037"/>
                  </a:lnTo>
                  <a:lnTo>
                    <a:pt x="817" y="1037"/>
                  </a:lnTo>
                  <a:lnTo>
                    <a:pt x="817" y="1037"/>
                  </a:lnTo>
                  <a:lnTo>
                    <a:pt x="817" y="1037"/>
                  </a:lnTo>
                  <a:lnTo>
                    <a:pt x="815" y="1037"/>
                  </a:lnTo>
                  <a:lnTo>
                    <a:pt x="815" y="1037"/>
                  </a:lnTo>
                  <a:lnTo>
                    <a:pt x="815" y="1037"/>
                  </a:lnTo>
                  <a:lnTo>
                    <a:pt x="814" y="1037"/>
                  </a:lnTo>
                  <a:lnTo>
                    <a:pt x="814" y="1037"/>
                  </a:lnTo>
                  <a:lnTo>
                    <a:pt x="814" y="1037"/>
                  </a:lnTo>
                  <a:lnTo>
                    <a:pt x="814" y="1037"/>
                  </a:lnTo>
                  <a:lnTo>
                    <a:pt x="813" y="1037"/>
                  </a:lnTo>
                  <a:lnTo>
                    <a:pt x="813" y="1037"/>
                  </a:lnTo>
                  <a:lnTo>
                    <a:pt x="813" y="1037"/>
                  </a:lnTo>
                  <a:lnTo>
                    <a:pt x="812" y="1037"/>
                  </a:lnTo>
                  <a:lnTo>
                    <a:pt x="812" y="1037"/>
                  </a:lnTo>
                  <a:lnTo>
                    <a:pt x="812" y="1037"/>
                  </a:lnTo>
                  <a:lnTo>
                    <a:pt x="812" y="1037"/>
                  </a:lnTo>
                  <a:lnTo>
                    <a:pt x="811" y="1037"/>
                  </a:lnTo>
                  <a:lnTo>
                    <a:pt x="811" y="1037"/>
                  </a:lnTo>
                  <a:lnTo>
                    <a:pt x="811" y="1037"/>
                  </a:lnTo>
                  <a:lnTo>
                    <a:pt x="810" y="1037"/>
                  </a:lnTo>
                  <a:lnTo>
                    <a:pt x="810" y="1037"/>
                  </a:lnTo>
                  <a:lnTo>
                    <a:pt x="810" y="1037"/>
                  </a:lnTo>
                  <a:lnTo>
                    <a:pt x="810" y="1037"/>
                  </a:lnTo>
                  <a:lnTo>
                    <a:pt x="808" y="1037"/>
                  </a:lnTo>
                  <a:lnTo>
                    <a:pt x="808" y="1037"/>
                  </a:lnTo>
                  <a:lnTo>
                    <a:pt x="808" y="1037"/>
                  </a:lnTo>
                  <a:lnTo>
                    <a:pt x="807" y="1037"/>
                  </a:lnTo>
                  <a:lnTo>
                    <a:pt x="807" y="1037"/>
                  </a:lnTo>
                  <a:lnTo>
                    <a:pt x="807" y="1037"/>
                  </a:lnTo>
                  <a:lnTo>
                    <a:pt x="806" y="1037"/>
                  </a:lnTo>
                  <a:lnTo>
                    <a:pt x="806" y="1037"/>
                  </a:lnTo>
                  <a:lnTo>
                    <a:pt x="806" y="1037"/>
                  </a:lnTo>
                  <a:lnTo>
                    <a:pt x="806" y="1037"/>
                  </a:lnTo>
                  <a:lnTo>
                    <a:pt x="805" y="1037"/>
                  </a:lnTo>
                  <a:lnTo>
                    <a:pt x="805" y="1037"/>
                  </a:lnTo>
                  <a:lnTo>
                    <a:pt x="805" y="1037"/>
                  </a:lnTo>
                  <a:lnTo>
                    <a:pt x="804" y="1037"/>
                  </a:lnTo>
                  <a:lnTo>
                    <a:pt x="804" y="1037"/>
                  </a:lnTo>
                  <a:lnTo>
                    <a:pt x="804" y="1037"/>
                  </a:lnTo>
                  <a:lnTo>
                    <a:pt x="804" y="1037"/>
                  </a:lnTo>
                  <a:lnTo>
                    <a:pt x="803" y="1037"/>
                  </a:lnTo>
                  <a:lnTo>
                    <a:pt x="803" y="1037"/>
                  </a:lnTo>
                  <a:lnTo>
                    <a:pt x="803" y="1037"/>
                  </a:lnTo>
                  <a:lnTo>
                    <a:pt x="801" y="1037"/>
                  </a:lnTo>
                  <a:lnTo>
                    <a:pt x="801" y="1037"/>
                  </a:lnTo>
                  <a:lnTo>
                    <a:pt x="801" y="1037"/>
                  </a:lnTo>
                  <a:lnTo>
                    <a:pt x="801" y="1037"/>
                  </a:lnTo>
                  <a:lnTo>
                    <a:pt x="800" y="1037"/>
                  </a:lnTo>
                  <a:lnTo>
                    <a:pt x="800" y="1037"/>
                  </a:lnTo>
                  <a:lnTo>
                    <a:pt x="800" y="1037"/>
                  </a:lnTo>
                  <a:lnTo>
                    <a:pt x="799" y="1037"/>
                  </a:lnTo>
                  <a:lnTo>
                    <a:pt x="799" y="1037"/>
                  </a:lnTo>
                  <a:lnTo>
                    <a:pt x="799" y="1037"/>
                  </a:lnTo>
                  <a:lnTo>
                    <a:pt x="799" y="1037"/>
                  </a:lnTo>
                  <a:lnTo>
                    <a:pt x="798" y="1037"/>
                  </a:lnTo>
                  <a:lnTo>
                    <a:pt x="798" y="1037"/>
                  </a:lnTo>
                  <a:lnTo>
                    <a:pt x="798" y="1037"/>
                  </a:lnTo>
                  <a:lnTo>
                    <a:pt x="797" y="1037"/>
                  </a:lnTo>
                  <a:lnTo>
                    <a:pt x="797" y="1037"/>
                  </a:lnTo>
                  <a:lnTo>
                    <a:pt x="797" y="1037"/>
                  </a:lnTo>
                  <a:lnTo>
                    <a:pt x="797" y="1037"/>
                  </a:lnTo>
                  <a:lnTo>
                    <a:pt x="796" y="1037"/>
                  </a:lnTo>
                  <a:lnTo>
                    <a:pt x="796" y="1037"/>
                  </a:lnTo>
                  <a:lnTo>
                    <a:pt x="37" y="1037"/>
                  </a:lnTo>
                  <a:lnTo>
                    <a:pt x="55" y="1017"/>
                  </a:lnTo>
                  <a:close/>
                  <a:moveTo>
                    <a:pt x="2370" y="616"/>
                  </a:moveTo>
                  <a:lnTo>
                    <a:pt x="2214" y="616"/>
                  </a:lnTo>
                  <a:lnTo>
                    <a:pt x="2029" y="850"/>
                  </a:lnTo>
                  <a:lnTo>
                    <a:pt x="2012" y="870"/>
                  </a:lnTo>
                  <a:lnTo>
                    <a:pt x="1995" y="891"/>
                  </a:lnTo>
                  <a:lnTo>
                    <a:pt x="1977" y="910"/>
                  </a:lnTo>
                  <a:lnTo>
                    <a:pt x="1958" y="929"/>
                  </a:lnTo>
                  <a:lnTo>
                    <a:pt x="2001" y="929"/>
                  </a:lnTo>
                  <a:lnTo>
                    <a:pt x="2010" y="929"/>
                  </a:lnTo>
                  <a:lnTo>
                    <a:pt x="2019" y="929"/>
                  </a:lnTo>
                  <a:lnTo>
                    <a:pt x="2030" y="929"/>
                  </a:lnTo>
                  <a:lnTo>
                    <a:pt x="2039" y="929"/>
                  </a:lnTo>
                  <a:lnTo>
                    <a:pt x="2054" y="929"/>
                  </a:lnTo>
                  <a:lnTo>
                    <a:pt x="2067" y="926"/>
                  </a:lnTo>
                  <a:lnTo>
                    <a:pt x="2080" y="925"/>
                  </a:lnTo>
                  <a:lnTo>
                    <a:pt x="2093" y="922"/>
                  </a:lnTo>
                  <a:lnTo>
                    <a:pt x="2104" y="919"/>
                  </a:lnTo>
                  <a:lnTo>
                    <a:pt x="2114" y="915"/>
                  </a:lnTo>
                  <a:lnTo>
                    <a:pt x="2123" y="911"/>
                  </a:lnTo>
                  <a:lnTo>
                    <a:pt x="2133" y="907"/>
                  </a:lnTo>
                  <a:lnTo>
                    <a:pt x="2141" y="901"/>
                  </a:lnTo>
                  <a:lnTo>
                    <a:pt x="2149" y="896"/>
                  </a:lnTo>
                  <a:lnTo>
                    <a:pt x="2157" y="889"/>
                  </a:lnTo>
                  <a:lnTo>
                    <a:pt x="2164" y="883"/>
                  </a:lnTo>
                  <a:lnTo>
                    <a:pt x="2177" y="870"/>
                  </a:lnTo>
                  <a:lnTo>
                    <a:pt x="2188" y="855"/>
                  </a:lnTo>
                  <a:lnTo>
                    <a:pt x="2209" y="828"/>
                  </a:lnTo>
                  <a:lnTo>
                    <a:pt x="2230" y="801"/>
                  </a:lnTo>
                  <a:lnTo>
                    <a:pt x="2251" y="774"/>
                  </a:lnTo>
                  <a:lnTo>
                    <a:pt x="2272" y="747"/>
                  </a:lnTo>
                  <a:lnTo>
                    <a:pt x="2292" y="720"/>
                  </a:lnTo>
                  <a:lnTo>
                    <a:pt x="2313" y="693"/>
                  </a:lnTo>
                  <a:lnTo>
                    <a:pt x="2333" y="667"/>
                  </a:lnTo>
                  <a:lnTo>
                    <a:pt x="2353" y="638"/>
                  </a:lnTo>
                  <a:lnTo>
                    <a:pt x="2362" y="627"/>
                  </a:lnTo>
                  <a:lnTo>
                    <a:pt x="2370" y="616"/>
                  </a:lnTo>
                  <a:close/>
                  <a:moveTo>
                    <a:pt x="1808" y="929"/>
                  </a:moveTo>
                  <a:lnTo>
                    <a:pt x="1816" y="919"/>
                  </a:lnTo>
                  <a:lnTo>
                    <a:pt x="1825" y="909"/>
                  </a:lnTo>
                  <a:lnTo>
                    <a:pt x="1853" y="873"/>
                  </a:lnTo>
                  <a:lnTo>
                    <a:pt x="1882" y="835"/>
                  </a:lnTo>
                  <a:lnTo>
                    <a:pt x="1911" y="799"/>
                  </a:lnTo>
                  <a:lnTo>
                    <a:pt x="1940" y="763"/>
                  </a:lnTo>
                  <a:lnTo>
                    <a:pt x="1968" y="726"/>
                  </a:lnTo>
                  <a:lnTo>
                    <a:pt x="1997" y="689"/>
                  </a:lnTo>
                  <a:lnTo>
                    <a:pt x="2025" y="652"/>
                  </a:lnTo>
                  <a:lnTo>
                    <a:pt x="2053" y="616"/>
                  </a:lnTo>
                  <a:lnTo>
                    <a:pt x="1459" y="616"/>
                  </a:lnTo>
                  <a:lnTo>
                    <a:pt x="1440" y="616"/>
                  </a:lnTo>
                  <a:lnTo>
                    <a:pt x="1421" y="617"/>
                  </a:lnTo>
                  <a:lnTo>
                    <a:pt x="1404" y="620"/>
                  </a:lnTo>
                  <a:lnTo>
                    <a:pt x="1386" y="622"/>
                  </a:lnTo>
                  <a:lnTo>
                    <a:pt x="1369" y="626"/>
                  </a:lnTo>
                  <a:lnTo>
                    <a:pt x="1354" y="630"/>
                  </a:lnTo>
                  <a:lnTo>
                    <a:pt x="1337" y="636"/>
                  </a:lnTo>
                  <a:lnTo>
                    <a:pt x="1322" y="642"/>
                  </a:lnTo>
                  <a:lnTo>
                    <a:pt x="1308" y="648"/>
                  </a:lnTo>
                  <a:lnTo>
                    <a:pt x="1294" y="655"/>
                  </a:lnTo>
                  <a:lnTo>
                    <a:pt x="1281" y="663"/>
                  </a:lnTo>
                  <a:lnTo>
                    <a:pt x="1268" y="672"/>
                  </a:lnTo>
                  <a:lnTo>
                    <a:pt x="1255" y="682"/>
                  </a:lnTo>
                  <a:lnTo>
                    <a:pt x="1244" y="691"/>
                  </a:lnTo>
                  <a:lnTo>
                    <a:pt x="1232" y="702"/>
                  </a:lnTo>
                  <a:lnTo>
                    <a:pt x="1221" y="713"/>
                  </a:lnTo>
                  <a:lnTo>
                    <a:pt x="1046" y="929"/>
                  </a:lnTo>
                  <a:lnTo>
                    <a:pt x="1808" y="929"/>
                  </a:lnTo>
                  <a:close/>
                </a:path>
              </a:pathLst>
            </a:cu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5" name="Freeform 95"/>
            <p:cNvSpPr>
              <a:spLocks/>
            </p:cNvSpPr>
            <p:nvPr userDrawn="1"/>
          </p:nvSpPr>
          <p:spPr bwMode="auto">
            <a:xfrm>
              <a:off x="11177720" y="4681538"/>
              <a:ext cx="295032" cy="193675"/>
            </a:xfrm>
            <a:custGeom>
              <a:avLst/>
              <a:gdLst>
                <a:gd name="T0" fmla="*/ 275 w 451"/>
                <a:gd name="T1" fmla="*/ 0 h 367"/>
                <a:gd name="T2" fmla="*/ 451 w 451"/>
                <a:gd name="T3" fmla="*/ 0 h 367"/>
                <a:gd name="T4" fmla="*/ 161 w 451"/>
                <a:gd name="T5" fmla="*/ 367 h 367"/>
                <a:gd name="T6" fmla="*/ 0 w 451"/>
                <a:gd name="T7" fmla="*/ 367 h 367"/>
                <a:gd name="T8" fmla="*/ 35 w 451"/>
                <a:gd name="T9" fmla="*/ 322 h 367"/>
                <a:gd name="T10" fmla="*/ 70 w 451"/>
                <a:gd name="T11" fmla="*/ 276 h 367"/>
                <a:gd name="T12" fmla="*/ 106 w 451"/>
                <a:gd name="T13" fmla="*/ 230 h 367"/>
                <a:gd name="T14" fmla="*/ 139 w 451"/>
                <a:gd name="T15" fmla="*/ 185 h 367"/>
                <a:gd name="T16" fmla="*/ 175 w 451"/>
                <a:gd name="T17" fmla="*/ 138 h 367"/>
                <a:gd name="T18" fmla="*/ 209 w 451"/>
                <a:gd name="T19" fmla="*/ 92 h 367"/>
                <a:gd name="T20" fmla="*/ 242 w 451"/>
                <a:gd name="T21" fmla="*/ 45 h 367"/>
                <a:gd name="T22" fmla="*/ 275 w 451"/>
                <a:gd name="T23" fmla="*/ 0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51" h="367">
                  <a:moveTo>
                    <a:pt x="275" y="0"/>
                  </a:moveTo>
                  <a:lnTo>
                    <a:pt x="451" y="0"/>
                  </a:lnTo>
                  <a:lnTo>
                    <a:pt x="161" y="367"/>
                  </a:lnTo>
                  <a:lnTo>
                    <a:pt x="0" y="367"/>
                  </a:lnTo>
                  <a:lnTo>
                    <a:pt x="35" y="322"/>
                  </a:lnTo>
                  <a:lnTo>
                    <a:pt x="70" y="276"/>
                  </a:lnTo>
                  <a:lnTo>
                    <a:pt x="106" y="230"/>
                  </a:lnTo>
                  <a:lnTo>
                    <a:pt x="139" y="185"/>
                  </a:lnTo>
                  <a:lnTo>
                    <a:pt x="175" y="138"/>
                  </a:lnTo>
                  <a:lnTo>
                    <a:pt x="209" y="92"/>
                  </a:lnTo>
                  <a:lnTo>
                    <a:pt x="242" y="45"/>
                  </a:lnTo>
                  <a:lnTo>
                    <a:pt x="275" y="0"/>
                  </a:ln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6" name="Freeform 96"/>
            <p:cNvSpPr>
              <a:spLocks noEditPoints="1"/>
            </p:cNvSpPr>
            <p:nvPr userDrawn="1"/>
          </p:nvSpPr>
          <p:spPr bwMode="auto">
            <a:xfrm>
              <a:off x="10472386" y="4806954"/>
              <a:ext cx="1256324" cy="246063"/>
            </a:xfrm>
            <a:custGeom>
              <a:avLst/>
              <a:gdLst>
                <a:gd name="T0" fmla="*/ 1414 w 1930"/>
                <a:gd name="T1" fmla="*/ 115 h 464"/>
                <a:gd name="T2" fmla="*/ 1437 w 1930"/>
                <a:gd name="T3" fmla="*/ 88 h 464"/>
                <a:gd name="T4" fmla="*/ 1461 w 1930"/>
                <a:gd name="T5" fmla="*/ 66 h 464"/>
                <a:gd name="T6" fmla="*/ 1485 w 1930"/>
                <a:gd name="T7" fmla="*/ 46 h 464"/>
                <a:gd name="T8" fmla="*/ 1510 w 1930"/>
                <a:gd name="T9" fmla="*/ 29 h 464"/>
                <a:gd name="T10" fmla="*/ 1535 w 1930"/>
                <a:gd name="T11" fmla="*/ 17 h 464"/>
                <a:gd name="T12" fmla="*/ 1560 w 1930"/>
                <a:gd name="T13" fmla="*/ 7 h 464"/>
                <a:gd name="T14" fmla="*/ 1587 w 1930"/>
                <a:gd name="T15" fmla="*/ 1 h 464"/>
                <a:gd name="T16" fmla="*/ 1641 w 1930"/>
                <a:gd name="T17" fmla="*/ 0 h 464"/>
                <a:gd name="T18" fmla="*/ 1724 w 1930"/>
                <a:gd name="T19" fmla="*/ 0 h 464"/>
                <a:gd name="T20" fmla="*/ 1806 w 1930"/>
                <a:gd name="T21" fmla="*/ 0 h 464"/>
                <a:gd name="T22" fmla="*/ 1889 w 1930"/>
                <a:gd name="T23" fmla="*/ 0 h 464"/>
                <a:gd name="T24" fmla="*/ 1930 w 1930"/>
                <a:gd name="T25" fmla="*/ 3 h 464"/>
                <a:gd name="T26" fmla="*/ 1930 w 1930"/>
                <a:gd name="T27" fmla="*/ 6 h 464"/>
                <a:gd name="T28" fmla="*/ 1930 w 1930"/>
                <a:gd name="T29" fmla="*/ 10 h 464"/>
                <a:gd name="T30" fmla="*/ 1930 w 1930"/>
                <a:gd name="T31" fmla="*/ 14 h 464"/>
                <a:gd name="T32" fmla="*/ 1930 w 1930"/>
                <a:gd name="T33" fmla="*/ 17 h 464"/>
                <a:gd name="T34" fmla="*/ 1930 w 1930"/>
                <a:gd name="T35" fmla="*/ 20 h 464"/>
                <a:gd name="T36" fmla="*/ 1930 w 1930"/>
                <a:gd name="T37" fmla="*/ 25 h 464"/>
                <a:gd name="T38" fmla="*/ 1930 w 1930"/>
                <a:gd name="T39" fmla="*/ 28 h 464"/>
                <a:gd name="T40" fmla="*/ 1930 w 1930"/>
                <a:gd name="T41" fmla="*/ 32 h 464"/>
                <a:gd name="T42" fmla="*/ 1930 w 1930"/>
                <a:gd name="T43" fmla="*/ 37 h 464"/>
                <a:gd name="T44" fmla="*/ 1930 w 1930"/>
                <a:gd name="T45" fmla="*/ 39 h 464"/>
                <a:gd name="T46" fmla="*/ 1930 w 1930"/>
                <a:gd name="T47" fmla="*/ 44 h 464"/>
                <a:gd name="T48" fmla="*/ 1930 w 1930"/>
                <a:gd name="T49" fmla="*/ 47 h 464"/>
                <a:gd name="T50" fmla="*/ 1930 w 1930"/>
                <a:gd name="T51" fmla="*/ 51 h 464"/>
                <a:gd name="T52" fmla="*/ 1930 w 1930"/>
                <a:gd name="T53" fmla="*/ 55 h 464"/>
                <a:gd name="T54" fmla="*/ 1930 w 1930"/>
                <a:gd name="T55" fmla="*/ 59 h 464"/>
                <a:gd name="T56" fmla="*/ 1930 w 1930"/>
                <a:gd name="T57" fmla="*/ 61 h 464"/>
                <a:gd name="T58" fmla="*/ 1930 w 1930"/>
                <a:gd name="T59" fmla="*/ 67 h 464"/>
                <a:gd name="T60" fmla="*/ 1930 w 1930"/>
                <a:gd name="T61" fmla="*/ 70 h 464"/>
                <a:gd name="T62" fmla="*/ 1930 w 1930"/>
                <a:gd name="T63" fmla="*/ 73 h 464"/>
                <a:gd name="T64" fmla="*/ 1930 w 1930"/>
                <a:gd name="T65" fmla="*/ 77 h 464"/>
                <a:gd name="T66" fmla="*/ 1930 w 1930"/>
                <a:gd name="T67" fmla="*/ 81 h 464"/>
                <a:gd name="T68" fmla="*/ 1930 w 1930"/>
                <a:gd name="T69" fmla="*/ 85 h 464"/>
                <a:gd name="T70" fmla="*/ 1930 w 1930"/>
                <a:gd name="T71" fmla="*/ 89 h 464"/>
                <a:gd name="T72" fmla="*/ 1930 w 1930"/>
                <a:gd name="T73" fmla="*/ 93 h 464"/>
                <a:gd name="T74" fmla="*/ 1930 w 1930"/>
                <a:gd name="T75" fmla="*/ 95 h 464"/>
                <a:gd name="T76" fmla="*/ 1930 w 1930"/>
                <a:gd name="T77" fmla="*/ 101 h 464"/>
                <a:gd name="T78" fmla="*/ 1930 w 1930"/>
                <a:gd name="T79" fmla="*/ 103 h 464"/>
                <a:gd name="T80" fmla="*/ 1930 w 1930"/>
                <a:gd name="T81" fmla="*/ 107 h 464"/>
                <a:gd name="T82" fmla="*/ 1930 w 1930"/>
                <a:gd name="T83" fmla="*/ 113 h 464"/>
                <a:gd name="T84" fmla="*/ 1930 w 1930"/>
                <a:gd name="T85" fmla="*/ 115 h 464"/>
                <a:gd name="T86" fmla="*/ 1930 w 1930"/>
                <a:gd name="T87" fmla="*/ 118 h 464"/>
                <a:gd name="T88" fmla="*/ 1930 w 1930"/>
                <a:gd name="T89" fmla="*/ 123 h 464"/>
                <a:gd name="T90" fmla="*/ 1930 w 1930"/>
                <a:gd name="T91" fmla="*/ 127 h 464"/>
                <a:gd name="T92" fmla="*/ 1930 w 1930"/>
                <a:gd name="T93" fmla="*/ 130 h 464"/>
                <a:gd name="T94" fmla="*/ 62 w 1930"/>
                <a:gd name="T95" fmla="*/ 464 h 464"/>
                <a:gd name="T96" fmla="*/ 10 w 1930"/>
                <a:gd name="T97" fmla="*/ 453 h 464"/>
                <a:gd name="T98" fmla="*/ 78 w 1930"/>
                <a:gd name="T99" fmla="*/ 443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930" h="464">
                  <a:moveTo>
                    <a:pt x="1402" y="130"/>
                  </a:moveTo>
                  <a:lnTo>
                    <a:pt x="1414" y="115"/>
                  </a:lnTo>
                  <a:lnTo>
                    <a:pt x="1426" y="101"/>
                  </a:lnTo>
                  <a:lnTo>
                    <a:pt x="1437" y="88"/>
                  </a:lnTo>
                  <a:lnTo>
                    <a:pt x="1449" y="76"/>
                  </a:lnTo>
                  <a:lnTo>
                    <a:pt x="1461" y="66"/>
                  </a:lnTo>
                  <a:lnTo>
                    <a:pt x="1473" y="55"/>
                  </a:lnTo>
                  <a:lnTo>
                    <a:pt x="1485" y="46"/>
                  </a:lnTo>
                  <a:lnTo>
                    <a:pt x="1497" y="38"/>
                  </a:lnTo>
                  <a:lnTo>
                    <a:pt x="1510" y="29"/>
                  </a:lnTo>
                  <a:lnTo>
                    <a:pt x="1522" y="22"/>
                  </a:lnTo>
                  <a:lnTo>
                    <a:pt x="1535" y="17"/>
                  </a:lnTo>
                  <a:lnTo>
                    <a:pt x="1547" y="12"/>
                  </a:lnTo>
                  <a:lnTo>
                    <a:pt x="1560" y="7"/>
                  </a:lnTo>
                  <a:lnTo>
                    <a:pt x="1573" y="4"/>
                  </a:lnTo>
                  <a:lnTo>
                    <a:pt x="1587" y="1"/>
                  </a:lnTo>
                  <a:lnTo>
                    <a:pt x="1600" y="0"/>
                  </a:lnTo>
                  <a:lnTo>
                    <a:pt x="1641" y="0"/>
                  </a:lnTo>
                  <a:lnTo>
                    <a:pt x="1682" y="0"/>
                  </a:lnTo>
                  <a:lnTo>
                    <a:pt x="1724" y="0"/>
                  </a:lnTo>
                  <a:lnTo>
                    <a:pt x="1765" y="0"/>
                  </a:lnTo>
                  <a:lnTo>
                    <a:pt x="1806" y="0"/>
                  </a:lnTo>
                  <a:lnTo>
                    <a:pt x="1847" y="0"/>
                  </a:lnTo>
                  <a:lnTo>
                    <a:pt x="1889" y="0"/>
                  </a:lnTo>
                  <a:lnTo>
                    <a:pt x="1930" y="0"/>
                  </a:lnTo>
                  <a:lnTo>
                    <a:pt x="1930" y="3"/>
                  </a:lnTo>
                  <a:lnTo>
                    <a:pt x="1930" y="4"/>
                  </a:lnTo>
                  <a:lnTo>
                    <a:pt x="1930" y="6"/>
                  </a:lnTo>
                  <a:lnTo>
                    <a:pt x="1930" y="8"/>
                  </a:lnTo>
                  <a:lnTo>
                    <a:pt x="1930" y="10"/>
                  </a:lnTo>
                  <a:lnTo>
                    <a:pt x="1930" y="11"/>
                  </a:lnTo>
                  <a:lnTo>
                    <a:pt x="1930" y="14"/>
                  </a:lnTo>
                  <a:lnTo>
                    <a:pt x="1930" y="14"/>
                  </a:lnTo>
                  <a:lnTo>
                    <a:pt x="1930" y="17"/>
                  </a:lnTo>
                  <a:lnTo>
                    <a:pt x="1930" y="20"/>
                  </a:lnTo>
                  <a:lnTo>
                    <a:pt x="1930" y="20"/>
                  </a:lnTo>
                  <a:lnTo>
                    <a:pt x="1930" y="22"/>
                  </a:lnTo>
                  <a:lnTo>
                    <a:pt x="1930" y="25"/>
                  </a:lnTo>
                  <a:lnTo>
                    <a:pt x="1930" y="26"/>
                  </a:lnTo>
                  <a:lnTo>
                    <a:pt x="1930" y="28"/>
                  </a:lnTo>
                  <a:lnTo>
                    <a:pt x="1930" y="31"/>
                  </a:lnTo>
                  <a:lnTo>
                    <a:pt x="1930" y="32"/>
                  </a:lnTo>
                  <a:lnTo>
                    <a:pt x="1930" y="34"/>
                  </a:lnTo>
                  <a:lnTo>
                    <a:pt x="1930" y="37"/>
                  </a:lnTo>
                  <a:lnTo>
                    <a:pt x="1930" y="38"/>
                  </a:lnTo>
                  <a:lnTo>
                    <a:pt x="1930" y="39"/>
                  </a:lnTo>
                  <a:lnTo>
                    <a:pt x="1930" y="42"/>
                  </a:lnTo>
                  <a:lnTo>
                    <a:pt x="1930" y="44"/>
                  </a:lnTo>
                  <a:lnTo>
                    <a:pt x="1930" y="45"/>
                  </a:lnTo>
                  <a:lnTo>
                    <a:pt x="1930" y="47"/>
                  </a:lnTo>
                  <a:lnTo>
                    <a:pt x="1930" y="49"/>
                  </a:lnTo>
                  <a:lnTo>
                    <a:pt x="1930" y="51"/>
                  </a:lnTo>
                  <a:lnTo>
                    <a:pt x="1930" y="53"/>
                  </a:lnTo>
                  <a:lnTo>
                    <a:pt x="1930" y="55"/>
                  </a:lnTo>
                  <a:lnTo>
                    <a:pt x="1930" y="56"/>
                  </a:lnTo>
                  <a:lnTo>
                    <a:pt x="1930" y="59"/>
                  </a:lnTo>
                  <a:lnTo>
                    <a:pt x="1930" y="61"/>
                  </a:lnTo>
                  <a:lnTo>
                    <a:pt x="1930" y="61"/>
                  </a:lnTo>
                  <a:lnTo>
                    <a:pt x="1930" y="65"/>
                  </a:lnTo>
                  <a:lnTo>
                    <a:pt x="1930" y="67"/>
                  </a:lnTo>
                  <a:lnTo>
                    <a:pt x="1930" y="67"/>
                  </a:lnTo>
                  <a:lnTo>
                    <a:pt x="1930" y="70"/>
                  </a:lnTo>
                  <a:lnTo>
                    <a:pt x="1930" y="72"/>
                  </a:lnTo>
                  <a:lnTo>
                    <a:pt x="1930" y="73"/>
                  </a:lnTo>
                  <a:lnTo>
                    <a:pt x="1930" y="75"/>
                  </a:lnTo>
                  <a:lnTo>
                    <a:pt x="1930" y="77"/>
                  </a:lnTo>
                  <a:lnTo>
                    <a:pt x="1930" y="79"/>
                  </a:lnTo>
                  <a:lnTo>
                    <a:pt x="1930" y="81"/>
                  </a:lnTo>
                  <a:lnTo>
                    <a:pt x="1930" y="83"/>
                  </a:lnTo>
                  <a:lnTo>
                    <a:pt x="1930" y="85"/>
                  </a:lnTo>
                  <a:lnTo>
                    <a:pt x="1930" y="87"/>
                  </a:lnTo>
                  <a:lnTo>
                    <a:pt x="1930" y="89"/>
                  </a:lnTo>
                  <a:lnTo>
                    <a:pt x="1930" y="89"/>
                  </a:lnTo>
                  <a:lnTo>
                    <a:pt x="1930" y="93"/>
                  </a:lnTo>
                  <a:lnTo>
                    <a:pt x="1930" y="95"/>
                  </a:lnTo>
                  <a:lnTo>
                    <a:pt x="1930" y="95"/>
                  </a:lnTo>
                  <a:lnTo>
                    <a:pt x="1930" y="99"/>
                  </a:lnTo>
                  <a:lnTo>
                    <a:pt x="1930" y="101"/>
                  </a:lnTo>
                  <a:lnTo>
                    <a:pt x="1930" y="101"/>
                  </a:lnTo>
                  <a:lnTo>
                    <a:pt x="1930" y="103"/>
                  </a:lnTo>
                  <a:lnTo>
                    <a:pt x="1930" y="107"/>
                  </a:lnTo>
                  <a:lnTo>
                    <a:pt x="1930" y="107"/>
                  </a:lnTo>
                  <a:lnTo>
                    <a:pt x="1930" y="109"/>
                  </a:lnTo>
                  <a:lnTo>
                    <a:pt x="1930" y="113"/>
                  </a:lnTo>
                  <a:lnTo>
                    <a:pt x="1930" y="113"/>
                  </a:lnTo>
                  <a:lnTo>
                    <a:pt x="1930" y="115"/>
                  </a:lnTo>
                  <a:lnTo>
                    <a:pt x="1930" y="117"/>
                  </a:lnTo>
                  <a:lnTo>
                    <a:pt x="1930" y="118"/>
                  </a:lnTo>
                  <a:lnTo>
                    <a:pt x="1930" y="121"/>
                  </a:lnTo>
                  <a:lnTo>
                    <a:pt x="1930" y="123"/>
                  </a:lnTo>
                  <a:lnTo>
                    <a:pt x="1930" y="124"/>
                  </a:lnTo>
                  <a:lnTo>
                    <a:pt x="1930" y="127"/>
                  </a:lnTo>
                  <a:lnTo>
                    <a:pt x="1930" y="129"/>
                  </a:lnTo>
                  <a:lnTo>
                    <a:pt x="1930" y="130"/>
                  </a:lnTo>
                  <a:lnTo>
                    <a:pt x="1402" y="130"/>
                  </a:lnTo>
                  <a:close/>
                  <a:moveTo>
                    <a:pt x="62" y="464"/>
                  </a:moveTo>
                  <a:lnTo>
                    <a:pt x="0" y="464"/>
                  </a:lnTo>
                  <a:lnTo>
                    <a:pt x="10" y="453"/>
                  </a:lnTo>
                  <a:lnTo>
                    <a:pt x="19" y="443"/>
                  </a:lnTo>
                  <a:lnTo>
                    <a:pt x="78" y="443"/>
                  </a:lnTo>
                  <a:lnTo>
                    <a:pt x="62" y="464"/>
                  </a:ln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7" name="Freeform 97"/>
            <p:cNvSpPr>
              <a:spLocks/>
            </p:cNvSpPr>
            <p:nvPr userDrawn="1"/>
          </p:nvSpPr>
          <p:spPr bwMode="auto">
            <a:xfrm>
              <a:off x="11005785" y="5041905"/>
              <a:ext cx="111369" cy="11113"/>
            </a:xfrm>
            <a:custGeom>
              <a:avLst/>
              <a:gdLst>
                <a:gd name="T0" fmla="*/ 149 w 170"/>
                <a:gd name="T1" fmla="*/ 21 h 21"/>
                <a:gd name="T2" fmla="*/ 0 w 170"/>
                <a:gd name="T3" fmla="*/ 21 h 21"/>
                <a:gd name="T4" fmla="*/ 9 w 170"/>
                <a:gd name="T5" fmla="*/ 10 h 21"/>
                <a:gd name="T6" fmla="*/ 20 w 170"/>
                <a:gd name="T7" fmla="*/ 0 h 21"/>
                <a:gd name="T8" fmla="*/ 170 w 170"/>
                <a:gd name="T9" fmla="*/ 0 h 21"/>
                <a:gd name="T10" fmla="*/ 160 w 170"/>
                <a:gd name="T11" fmla="*/ 10 h 21"/>
                <a:gd name="T12" fmla="*/ 149 w 170"/>
                <a:gd name="T13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0" h="21">
                  <a:moveTo>
                    <a:pt x="149" y="21"/>
                  </a:moveTo>
                  <a:lnTo>
                    <a:pt x="0" y="21"/>
                  </a:lnTo>
                  <a:lnTo>
                    <a:pt x="9" y="10"/>
                  </a:lnTo>
                  <a:lnTo>
                    <a:pt x="20" y="0"/>
                  </a:lnTo>
                  <a:lnTo>
                    <a:pt x="170" y="0"/>
                  </a:lnTo>
                  <a:lnTo>
                    <a:pt x="160" y="10"/>
                  </a:lnTo>
                  <a:lnTo>
                    <a:pt x="149" y="21"/>
                  </a:ln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8" name="Freeform 98"/>
            <p:cNvSpPr>
              <a:spLocks/>
            </p:cNvSpPr>
            <p:nvPr userDrawn="1"/>
          </p:nvSpPr>
          <p:spPr bwMode="auto">
            <a:xfrm>
              <a:off x="9890140" y="4857750"/>
              <a:ext cx="1838569" cy="217488"/>
            </a:xfrm>
            <a:custGeom>
              <a:avLst/>
              <a:gdLst>
                <a:gd name="T0" fmla="*/ 2374 w 2823"/>
                <a:gd name="T1" fmla="*/ 390 h 410"/>
                <a:gd name="T2" fmla="*/ 2385 w 2823"/>
                <a:gd name="T3" fmla="*/ 390 h 410"/>
                <a:gd name="T4" fmla="*/ 2397 w 2823"/>
                <a:gd name="T5" fmla="*/ 390 h 410"/>
                <a:gd name="T6" fmla="*/ 2425 w 2823"/>
                <a:gd name="T7" fmla="*/ 390 h 410"/>
                <a:gd name="T8" fmla="*/ 2451 w 2823"/>
                <a:gd name="T9" fmla="*/ 388 h 410"/>
                <a:gd name="T10" fmla="*/ 2474 w 2823"/>
                <a:gd name="T11" fmla="*/ 384 h 410"/>
                <a:gd name="T12" fmla="*/ 2497 w 2823"/>
                <a:gd name="T13" fmla="*/ 379 h 410"/>
                <a:gd name="T14" fmla="*/ 2506 w 2823"/>
                <a:gd name="T15" fmla="*/ 376 h 410"/>
                <a:gd name="T16" fmla="*/ 2515 w 2823"/>
                <a:gd name="T17" fmla="*/ 372 h 410"/>
                <a:gd name="T18" fmla="*/ 2525 w 2823"/>
                <a:gd name="T19" fmla="*/ 368 h 410"/>
                <a:gd name="T20" fmla="*/ 2533 w 2823"/>
                <a:gd name="T21" fmla="*/ 363 h 410"/>
                <a:gd name="T22" fmla="*/ 2541 w 2823"/>
                <a:gd name="T23" fmla="*/ 358 h 410"/>
                <a:gd name="T24" fmla="*/ 2549 w 2823"/>
                <a:gd name="T25" fmla="*/ 352 h 410"/>
                <a:gd name="T26" fmla="*/ 2555 w 2823"/>
                <a:gd name="T27" fmla="*/ 346 h 410"/>
                <a:gd name="T28" fmla="*/ 2562 w 2823"/>
                <a:gd name="T29" fmla="*/ 340 h 410"/>
                <a:gd name="T30" fmla="*/ 2595 w 2823"/>
                <a:gd name="T31" fmla="*/ 297 h 410"/>
                <a:gd name="T32" fmla="*/ 2628 w 2823"/>
                <a:gd name="T33" fmla="*/ 254 h 410"/>
                <a:gd name="T34" fmla="*/ 2660 w 2823"/>
                <a:gd name="T35" fmla="*/ 212 h 410"/>
                <a:gd name="T36" fmla="*/ 2692 w 2823"/>
                <a:gd name="T37" fmla="*/ 170 h 410"/>
                <a:gd name="T38" fmla="*/ 2725 w 2823"/>
                <a:gd name="T39" fmla="*/ 128 h 410"/>
                <a:gd name="T40" fmla="*/ 2757 w 2823"/>
                <a:gd name="T41" fmla="*/ 86 h 410"/>
                <a:gd name="T42" fmla="*/ 2790 w 2823"/>
                <a:gd name="T43" fmla="*/ 43 h 410"/>
                <a:gd name="T44" fmla="*/ 2823 w 2823"/>
                <a:gd name="T45" fmla="*/ 0 h 410"/>
                <a:gd name="T46" fmla="*/ 2823 w 2823"/>
                <a:gd name="T47" fmla="*/ 28 h 410"/>
                <a:gd name="T48" fmla="*/ 2823 w 2823"/>
                <a:gd name="T49" fmla="*/ 55 h 410"/>
                <a:gd name="T50" fmla="*/ 2823 w 2823"/>
                <a:gd name="T51" fmla="*/ 82 h 410"/>
                <a:gd name="T52" fmla="*/ 2823 w 2823"/>
                <a:gd name="T53" fmla="*/ 110 h 410"/>
                <a:gd name="T54" fmla="*/ 2823 w 2823"/>
                <a:gd name="T55" fmla="*/ 137 h 410"/>
                <a:gd name="T56" fmla="*/ 2823 w 2823"/>
                <a:gd name="T57" fmla="*/ 164 h 410"/>
                <a:gd name="T58" fmla="*/ 2823 w 2823"/>
                <a:gd name="T59" fmla="*/ 192 h 410"/>
                <a:gd name="T60" fmla="*/ 2823 w 2823"/>
                <a:gd name="T61" fmla="*/ 219 h 410"/>
                <a:gd name="T62" fmla="*/ 2804 w 2823"/>
                <a:gd name="T63" fmla="*/ 245 h 410"/>
                <a:gd name="T64" fmla="*/ 2786 w 2823"/>
                <a:gd name="T65" fmla="*/ 270 h 410"/>
                <a:gd name="T66" fmla="*/ 2768 w 2823"/>
                <a:gd name="T67" fmla="*/ 294 h 410"/>
                <a:gd name="T68" fmla="*/ 2749 w 2823"/>
                <a:gd name="T69" fmla="*/ 320 h 410"/>
                <a:gd name="T70" fmla="*/ 2738 w 2823"/>
                <a:gd name="T71" fmla="*/ 333 h 410"/>
                <a:gd name="T72" fmla="*/ 2727 w 2823"/>
                <a:gd name="T73" fmla="*/ 345 h 410"/>
                <a:gd name="T74" fmla="*/ 2717 w 2823"/>
                <a:gd name="T75" fmla="*/ 355 h 410"/>
                <a:gd name="T76" fmla="*/ 2705 w 2823"/>
                <a:gd name="T77" fmla="*/ 365 h 410"/>
                <a:gd name="T78" fmla="*/ 2694 w 2823"/>
                <a:gd name="T79" fmla="*/ 373 h 410"/>
                <a:gd name="T80" fmla="*/ 2683 w 2823"/>
                <a:gd name="T81" fmla="*/ 380 h 410"/>
                <a:gd name="T82" fmla="*/ 2672 w 2823"/>
                <a:gd name="T83" fmla="*/ 387 h 410"/>
                <a:gd name="T84" fmla="*/ 2660 w 2823"/>
                <a:gd name="T85" fmla="*/ 393 h 410"/>
                <a:gd name="T86" fmla="*/ 2649 w 2823"/>
                <a:gd name="T87" fmla="*/ 397 h 410"/>
                <a:gd name="T88" fmla="*/ 2637 w 2823"/>
                <a:gd name="T89" fmla="*/ 401 h 410"/>
                <a:gd name="T90" fmla="*/ 2625 w 2823"/>
                <a:gd name="T91" fmla="*/ 404 h 410"/>
                <a:gd name="T92" fmla="*/ 2614 w 2823"/>
                <a:gd name="T93" fmla="*/ 407 h 410"/>
                <a:gd name="T94" fmla="*/ 2590 w 2823"/>
                <a:gd name="T95" fmla="*/ 409 h 410"/>
                <a:gd name="T96" fmla="*/ 2567 w 2823"/>
                <a:gd name="T97" fmla="*/ 410 h 410"/>
                <a:gd name="T98" fmla="*/ 2523 w 2823"/>
                <a:gd name="T99" fmla="*/ 410 h 410"/>
                <a:gd name="T100" fmla="*/ 2481 w 2823"/>
                <a:gd name="T101" fmla="*/ 410 h 410"/>
                <a:gd name="T102" fmla="*/ 2439 w 2823"/>
                <a:gd name="T103" fmla="*/ 410 h 410"/>
                <a:gd name="T104" fmla="*/ 2397 w 2823"/>
                <a:gd name="T105" fmla="*/ 410 h 410"/>
                <a:gd name="T106" fmla="*/ 2387 w 2823"/>
                <a:gd name="T107" fmla="*/ 410 h 410"/>
                <a:gd name="T108" fmla="*/ 2375 w 2823"/>
                <a:gd name="T109" fmla="*/ 410 h 410"/>
                <a:gd name="T110" fmla="*/ 0 w 2823"/>
                <a:gd name="T111" fmla="*/ 410 h 410"/>
                <a:gd name="T112" fmla="*/ 17 w 2823"/>
                <a:gd name="T113" fmla="*/ 390 h 410"/>
                <a:gd name="T114" fmla="*/ 2374 w 2823"/>
                <a:gd name="T115" fmla="*/ 390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23" h="410">
                  <a:moveTo>
                    <a:pt x="2374" y="390"/>
                  </a:moveTo>
                  <a:lnTo>
                    <a:pt x="2385" y="390"/>
                  </a:lnTo>
                  <a:lnTo>
                    <a:pt x="2397" y="390"/>
                  </a:lnTo>
                  <a:lnTo>
                    <a:pt x="2425" y="390"/>
                  </a:lnTo>
                  <a:lnTo>
                    <a:pt x="2451" y="388"/>
                  </a:lnTo>
                  <a:lnTo>
                    <a:pt x="2474" y="384"/>
                  </a:lnTo>
                  <a:lnTo>
                    <a:pt x="2497" y="379"/>
                  </a:lnTo>
                  <a:lnTo>
                    <a:pt x="2506" y="376"/>
                  </a:lnTo>
                  <a:lnTo>
                    <a:pt x="2515" y="372"/>
                  </a:lnTo>
                  <a:lnTo>
                    <a:pt x="2525" y="368"/>
                  </a:lnTo>
                  <a:lnTo>
                    <a:pt x="2533" y="363"/>
                  </a:lnTo>
                  <a:lnTo>
                    <a:pt x="2541" y="358"/>
                  </a:lnTo>
                  <a:lnTo>
                    <a:pt x="2549" y="352"/>
                  </a:lnTo>
                  <a:lnTo>
                    <a:pt x="2555" y="346"/>
                  </a:lnTo>
                  <a:lnTo>
                    <a:pt x="2562" y="340"/>
                  </a:lnTo>
                  <a:lnTo>
                    <a:pt x="2595" y="297"/>
                  </a:lnTo>
                  <a:lnTo>
                    <a:pt x="2628" y="254"/>
                  </a:lnTo>
                  <a:lnTo>
                    <a:pt x="2660" y="212"/>
                  </a:lnTo>
                  <a:lnTo>
                    <a:pt x="2692" y="170"/>
                  </a:lnTo>
                  <a:lnTo>
                    <a:pt x="2725" y="128"/>
                  </a:lnTo>
                  <a:lnTo>
                    <a:pt x="2757" y="86"/>
                  </a:lnTo>
                  <a:lnTo>
                    <a:pt x="2790" y="43"/>
                  </a:lnTo>
                  <a:lnTo>
                    <a:pt x="2823" y="0"/>
                  </a:lnTo>
                  <a:lnTo>
                    <a:pt x="2823" y="28"/>
                  </a:lnTo>
                  <a:lnTo>
                    <a:pt x="2823" y="55"/>
                  </a:lnTo>
                  <a:lnTo>
                    <a:pt x="2823" y="82"/>
                  </a:lnTo>
                  <a:lnTo>
                    <a:pt x="2823" y="110"/>
                  </a:lnTo>
                  <a:lnTo>
                    <a:pt x="2823" y="137"/>
                  </a:lnTo>
                  <a:lnTo>
                    <a:pt x="2823" y="164"/>
                  </a:lnTo>
                  <a:lnTo>
                    <a:pt x="2823" y="192"/>
                  </a:lnTo>
                  <a:lnTo>
                    <a:pt x="2823" y="219"/>
                  </a:lnTo>
                  <a:lnTo>
                    <a:pt x="2804" y="245"/>
                  </a:lnTo>
                  <a:lnTo>
                    <a:pt x="2786" y="270"/>
                  </a:lnTo>
                  <a:lnTo>
                    <a:pt x="2768" y="294"/>
                  </a:lnTo>
                  <a:lnTo>
                    <a:pt x="2749" y="320"/>
                  </a:lnTo>
                  <a:lnTo>
                    <a:pt x="2738" y="333"/>
                  </a:lnTo>
                  <a:lnTo>
                    <a:pt x="2727" y="345"/>
                  </a:lnTo>
                  <a:lnTo>
                    <a:pt x="2717" y="355"/>
                  </a:lnTo>
                  <a:lnTo>
                    <a:pt x="2705" y="365"/>
                  </a:lnTo>
                  <a:lnTo>
                    <a:pt x="2694" y="373"/>
                  </a:lnTo>
                  <a:lnTo>
                    <a:pt x="2683" y="380"/>
                  </a:lnTo>
                  <a:lnTo>
                    <a:pt x="2672" y="387"/>
                  </a:lnTo>
                  <a:lnTo>
                    <a:pt x="2660" y="393"/>
                  </a:lnTo>
                  <a:lnTo>
                    <a:pt x="2649" y="397"/>
                  </a:lnTo>
                  <a:lnTo>
                    <a:pt x="2637" y="401"/>
                  </a:lnTo>
                  <a:lnTo>
                    <a:pt x="2625" y="404"/>
                  </a:lnTo>
                  <a:lnTo>
                    <a:pt x="2614" y="407"/>
                  </a:lnTo>
                  <a:lnTo>
                    <a:pt x="2590" y="409"/>
                  </a:lnTo>
                  <a:lnTo>
                    <a:pt x="2567" y="410"/>
                  </a:lnTo>
                  <a:lnTo>
                    <a:pt x="2523" y="410"/>
                  </a:lnTo>
                  <a:lnTo>
                    <a:pt x="2481" y="410"/>
                  </a:lnTo>
                  <a:lnTo>
                    <a:pt x="2439" y="410"/>
                  </a:lnTo>
                  <a:lnTo>
                    <a:pt x="2397" y="410"/>
                  </a:lnTo>
                  <a:lnTo>
                    <a:pt x="2387" y="410"/>
                  </a:lnTo>
                  <a:lnTo>
                    <a:pt x="2375" y="410"/>
                  </a:lnTo>
                  <a:lnTo>
                    <a:pt x="0" y="410"/>
                  </a:lnTo>
                  <a:lnTo>
                    <a:pt x="17" y="390"/>
                  </a:lnTo>
                  <a:lnTo>
                    <a:pt x="2374" y="39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19" name="Номер слайда 23"/>
          <p:cNvSpPr>
            <a:spLocks noGrp="1"/>
          </p:cNvSpPr>
          <p:nvPr userDrawn="1">
            <p:ph type="sldNum" sz="quarter" idx="4"/>
          </p:nvPr>
        </p:nvSpPr>
        <p:spPr>
          <a:xfrm>
            <a:off x="8354516" y="4815046"/>
            <a:ext cx="576064" cy="267494"/>
          </a:xfrm>
          <a:prstGeom prst="rect">
            <a:avLst/>
          </a:prstGeom>
        </p:spPr>
        <p:txBody>
          <a:bodyPr/>
          <a:lstStyle>
            <a:lvl1pPr marL="0" algn="r" defTabSz="519371" rtl="0" eaLnBrk="1" latinLnBrk="0" hangingPunct="1">
              <a:defRPr lang="ru-RU" sz="1400" b="1" kern="1200" smtClean="0">
                <a:solidFill>
                  <a:srgbClr val="E21A1A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97AB2056-D4F9-4782-8969-B182112ED6BA}" type="slidenum">
              <a:rPr/>
              <a:pPr>
                <a:defRPr/>
              </a:pPr>
              <a:t>‹#›</a:t>
            </a:fld>
            <a:endParaRPr dirty="0"/>
          </a:p>
        </p:txBody>
      </p:sp>
      <p:cxnSp>
        <p:nvCxnSpPr>
          <p:cNvPr id="20" name="Прямая соединительная линия 19"/>
          <p:cNvCxnSpPr/>
          <p:nvPr userDrawn="1"/>
        </p:nvCxnSpPr>
        <p:spPr>
          <a:xfrm>
            <a:off x="0" y="5088602"/>
            <a:ext cx="7740352" cy="0"/>
          </a:xfrm>
          <a:prstGeom prst="line">
            <a:avLst/>
          </a:prstGeom>
          <a:ln w="95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9"/>
          <p:cNvGrpSpPr>
            <a:grpSpLocks noChangeAspect="1"/>
          </p:cNvGrpSpPr>
          <p:nvPr userDrawn="1"/>
        </p:nvGrpSpPr>
        <p:grpSpPr bwMode="auto">
          <a:xfrm>
            <a:off x="7778452" y="4887818"/>
            <a:ext cx="520293" cy="231737"/>
            <a:chOff x="5121" y="2970"/>
            <a:chExt cx="467" cy="208"/>
          </a:xfrm>
        </p:grpSpPr>
        <p:sp>
          <p:nvSpPr>
            <p:cNvPr id="22" name="AutoShape 8"/>
            <p:cNvSpPr>
              <a:spLocks noChangeAspect="1" noChangeArrowheads="1" noTextEdit="1"/>
            </p:cNvSpPr>
            <p:nvPr userDrawn="1"/>
          </p:nvSpPr>
          <p:spPr bwMode="auto">
            <a:xfrm>
              <a:off x="5121" y="2970"/>
              <a:ext cx="467" cy="2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3" name="Freeform 10"/>
            <p:cNvSpPr>
              <a:spLocks/>
            </p:cNvSpPr>
            <p:nvPr userDrawn="1"/>
          </p:nvSpPr>
          <p:spPr bwMode="auto">
            <a:xfrm>
              <a:off x="5418" y="2970"/>
              <a:ext cx="170" cy="156"/>
            </a:xfrm>
            <a:custGeom>
              <a:avLst/>
              <a:gdLst/>
              <a:ahLst/>
              <a:cxnLst>
                <a:cxn ang="0">
                  <a:pos x="79" y="3361"/>
                </a:cxn>
                <a:cxn ang="0">
                  <a:pos x="0" y="3674"/>
                </a:cxn>
                <a:cxn ang="0">
                  <a:pos x="97" y="3969"/>
                </a:cxn>
                <a:cxn ang="0">
                  <a:pos x="482" y="4508"/>
                </a:cxn>
                <a:cxn ang="0">
                  <a:pos x="850" y="4974"/>
                </a:cxn>
                <a:cxn ang="0">
                  <a:pos x="1191" y="5261"/>
                </a:cxn>
                <a:cxn ang="0">
                  <a:pos x="1656" y="5422"/>
                </a:cxn>
                <a:cxn ang="0">
                  <a:pos x="2310" y="5462"/>
                </a:cxn>
                <a:cxn ang="0">
                  <a:pos x="2993" y="5462"/>
                </a:cxn>
                <a:cxn ang="0">
                  <a:pos x="3650" y="5459"/>
                </a:cxn>
                <a:cxn ang="0">
                  <a:pos x="4228" y="5420"/>
                </a:cxn>
                <a:cxn ang="0">
                  <a:pos x="4750" y="5296"/>
                </a:cxn>
                <a:cxn ang="0">
                  <a:pos x="5221" y="5040"/>
                </a:cxn>
                <a:cxn ang="0">
                  <a:pos x="5625" y="4619"/>
                </a:cxn>
                <a:cxn ang="0">
                  <a:pos x="5856" y="4092"/>
                </a:cxn>
                <a:cxn ang="0">
                  <a:pos x="5949" y="3502"/>
                </a:cxn>
                <a:cxn ang="0">
                  <a:pos x="5965" y="2673"/>
                </a:cxn>
                <a:cxn ang="0">
                  <a:pos x="5953" y="1969"/>
                </a:cxn>
                <a:cxn ang="0">
                  <a:pos x="5900" y="1557"/>
                </a:cxn>
                <a:cxn ang="0">
                  <a:pos x="5817" y="1258"/>
                </a:cxn>
                <a:cxn ang="0">
                  <a:pos x="5711" y="1009"/>
                </a:cxn>
                <a:cxn ang="0">
                  <a:pos x="5577" y="788"/>
                </a:cxn>
                <a:cxn ang="0">
                  <a:pos x="5426" y="601"/>
                </a:cxn>
                <a:cxn ang="0">
                  <a:pos x="5222" y="427"/>
                </a:cxn>
                <a:cxn ang="0">
                  <a:pos x="4725" y="164"/>
                </a:cxn>
                <a:cxn ang="0">
                  <a:pos x="4192" y="42"/>
                </a:cxn>
                <a:cxn ang="0">
                  <a:pos x="3519" y="6"/>
                </a:cxn>
                <a:cxn ang="0">
                  <a:pos x="2584" y="6"/>
                </a:cxn>
                <a:cxn ang="0">
                  <a:pos x="1910" y="0"/>
                </a:cxn>
                <a:cxn ang="0">
                  <a:pos x="1516" y="50"/>
                </a:cxn>
                <a:cxn ang="0">
                  <a:pos x="1257" y="281"/>
                </a:cxn>
                <a:cxn ang="0">
                  <a:pos x="1189" y="819"/>
                </a:cxn>
                <a:cxn ang="0">
                  <a:pos x="1864" y="922"/>
                </a:cxn>
                <a:cxn ang="0">
                  <a:pos x="2796" y="916"/>
                </a:cxn>
                <a:cxn ang="0">
                  <a:pos x="3419" y="904"/>
                </a:cxn>
                <a:cxn ang="0">
                  <a:pos x="3778" y="949"/>
                </a:cxn>
                <a:cxn ang="0">
                  <a:pos x="4036" y="1119"/>
                </a:cxn>
                <a:cxn ang="0">
                  <a:pos x="4135" y="1424"/>
                </a:cxn>
                <a:cxn ang="0">
                  <a:pos x="4152" y="2297"/>
                </a:cxn>
                <a:cxn ang="0">
                  <a:pos x="4147" y="3711"/>
                </a:cxn>
                <a:cxn ang="0">
                  <a:pos x="4132" y="4095"/>
                </a:cxn>
                <a:cxn ang="0">
                  <a:pos x="4091" y="4254"/>
                </a:cxn>
                <a:cxn ang="0">
                  <a:pos x="4005" y="4389"/>
                </a:cxn>
                <a:cxn ang="0">
                  <a:pos x="3868" y="4485"/>
                </a:cxn>
                <a:cxn ang="0">
                  <a:pos x="3677" y="4536"/>
                </a:cxn>
                <a:cxn ang="0">
                  <a:pos x="3291" y="4549"/>
                </a:cxn>
                <a:cxn ang="0">
                  <a:pos x="2883" y="4549"/>
                </a:cxn>
                <a:cxn ang="0">
                  <a:pos x="2471" y="4549"/>
                </a:cxn>
                <a:cxn ang="0">
                  <a:pos x="2113" y="4531"/>
                </a:cxn>
                <a:cxn ang="0">
                  <a:pos x="1961" y="4478"/>
                </a:cxn>
                <a:cxn ang="0">
                  <a:pos x="1854" y="4369"/>
                </a:cxn>
                <a:cxn ang="0">
                  <a:pos x="1809" y="4203"/>
                </a:cxn>
                <a:cxn ang="0">
                  <a:pos x="1842" y="4039"/>
                </a:cxn>
                <a:cxn ang="0">
                  <a:pos x="2001" y="3781"/>
                </a:cxn>
                <a:cxn ang="0">
                  <a:pos x="3248" y="2121"/>
                </a:cxn>
                <a:cxn ang="0">
                  <a:pos x="3426" y="1883"/>
                </a:cxn>
              </a:cxnLst>
              <a:rect l="0" t="0" r="r" b="b"/>
              <a:pathLst>
                <a:path w="5966" h="5463">
                  <a:moveTo>
                    <a:pt x="308" y="3008"/>
                  </a:moveTo>
                  <a:lnTo>
                    <a:pt x="265" y="3065"/>
                  </a:lnTo>
                  <a:lnTo>
                    <a:pt x="226" y="3121"/>
                  </a:lnTo>
                  <a:lnTo>
                    <a:pt x="190" y="3173"/>
                  </a:lnTo>
                  <a:lnTo>
                    <a:pt x="157" y="3223"/>
                  </a:lnTo>
                  <a:lnTo>
                    <a:pt x="128" y="3271"/>
                  </a:lnTo>
                  <a:lnTo>
                    <a:pt x="102" y="3317"/>
                  </a:lnTo>
                  <a:lnTo>
                    <a:pt x="79" y="3361"/>
                  </a:lnTo>
                  <a:lnTo>
                    <a:pt x="58" y="3404"/>
                  </a:lnTo>
                  <a:lnTo>
                    <a:pt x="42" y="3446"/>
                  </a:lnTo>
                  <a:lnTo>
                    <a:pt x="28" y="3486"/>
                  </a:lnTo>
                  <a:lnTo>
                    <a:pt x="16" y="3525"/>
                  </a:lnTo>
                  <a:lnTo>
                    <a:pt x="8" y="3563"/>
                  </a:lnTo>
                  <a:lnTo>
                    <a:pt x="3" y="3601"/>
                  </a:lnTo>
                  <a:lnTo>
                    <a:pt x="0" y="3637"/>
                  </a:lnTo>
                  <a:lnTo>
                    <a:pt x="0" y="3674"/>
                  </a:lnTo>
                  <a:lnTo>
                    <a:pt x="3" y="3710"/>
                  </a:lnTo>
                  <a:lnTo>
                    <a:pt x="9" y="3746"/>
                  </a:lnTo>
                  <a:lnTo>
                    <a:pt x="17" y="3782"/>
                  </a:lnTo>
                  <a:lnTo>
                    <a:pt x="29" y="3819"/>
                  </a:lnTo>
                  <a:lnTo>
                    <a:pt x="42" y="3855"/>
                  </a:lnTo>
                  <a:lnTo>
                    <a:pt x="58" y="3892"/>
                  </a:lnTo>
                  <a:lnTo>
                    <a:pt x="77" y="3930"/>
                  </a:lnTo>
                  <a:lnTo>
                    <a:pt x="97" y="3969"/>
                  </a:lnTo>
                  <a:lnTo>
                    <a:pt x="121" y="4009"/>
                  </a:lnTo>
                  <a:lnTo>
                    <a:pt x="146" y="4050"/>
                  </a:lnTo>
                  <a:lnTo>
                    <a:pt x="175" y="4092"/>
                  </a:lnTo>
                  <a:lnTo>
                    <a:pt x="204" y="4136"/>
                  </a:lnTo>
                  <a:lnTo>
                    <a:pt x="237" y="4182"/>
                  </a:lnTo>
                  <a:lnTo>
                    <a:pt x="309" y="4279"/>
                  </a:lnTo>
                  <a:lnTo>
                    <a:pt x="389" y="4385"/>
                  </a:lnTo>
                  <a:lnTo>
                    <a:pt x="482" y="4508"/>
                  </a:lnTo>
                  <a:lnTo>
                    <a:pt x="570" y="4625"/>
                  </a:lnTo>
                  <a:lnTo>
                    <a:pt x="611" y="4680"/>
                  </a:lnTo>
                  <a:lnTo>
                    <a:pt x="652" y="4735"/>
                  </a:lnTo>
                  <a:lnTo>
                    <a:pt x="693" y="4786"/>
                  </a:lnTo>
                  <a:lnTo>
                    <a:pt x="732" y="4836"/>
                  </a:lnTo>
                  <a:lnTo>
                    <a:pt x="771" y="4884"/>
                  </a:lnTo>
                  <a:lnTo>
                    <a:pt x="810" y="4930"/>
                  </a:lnTo>
                  <a:lnTo>
                    <a:pt x="850" y="4974"/>
                  </a:lnTo>
                  <a:lnTo>
                    <a:pt x="889" y="5017"/>
                  </a:lnTo>
                  <a:lnTo>
                    <a:pt x="930" y="5057"/>
                  </a:lnTo>
                  <a:lnTo>
                    <a:pt x="971" y="5096"/>
                  </a:lnTo>
                  <a:lnTo>
                    <a:pt x="1011" y="5133"/>
                  </a:lnTo>
                  <a:lnTo>
                    <a:pt x="1054" y="5168"/>
                  </a:lnTo>
                  <a:lnTo>
                    <a:pt x="1098" y="5200"/>
                  </a:lnTo>
                  <a:lnTo>
                    <a:pt x="1144" y="5232"/>
                  </a:lnTo>
                  <a:lnTo>
                    <a:pt x="1191" y="5261"/>
                  </a:lnTo>
                  <a:lnTo>
                    <a:pt x="1241" y="5287"/>
                  </a:lnTo>
                  <a:lnTo>
                    <a:pt x="1292" y="5313"/>
                  </a:lnTo>
                  <a:lnTo>
                    <a:pt x="1345" y="5336"/>
                  </a:lnTo>
                  <a:lnTo>
                    <a:pt x="1402" y="5357"/>
                  </a:lnTo>
                  <a:lnTo>
                    <a:pt x="1461" y="5376"/>
                  </a:lnTo>
                  <a:lnTo>
                    <a:pt x="1523" y="5394"/>
                  </a:lnTo>
                  <a:lnTo>
                    <a:pt x="1588" y="5409"/>
                  </a:lnTo>
                  <a:lnTo>
                    <a:pt x="1656" y="5422"/>
                  </a:lnTo>
                  <a:lnTo>
                    <a:pt x="1729" y="5434"/>
                  </a:lnTo>
                  <a:lnTo>
                    <a:pt x="1804" y="5443"/>
                  </a:lnTo>
                  <a:lnTo>
                    <a:pt x="1883" y="5450"/>
                  </a:lnTo>
                  <a:lnTo>
                    <a:pt x="1967" y="5455"/>
                  </a:lnTo>
                  <a:lnTo>
                    <a:pt x="2055" y="5458"/>
                  </a:lnTo>
                  <a:lnTo>
                    <a:pt x="2140" y="5460"/>
                  </a:lnTo>
                  <a:lnTo>
                    <a:pt x="2225" y="5461"/>
                  </a:lnTo>
                  <a:lnTo>
                    <a:pt x="2310" y="5462"/>
                  </a:lnTo>
                  <a:lnTo>
                    <a:pt x="2395" y="5463"/>
                  </a:lnTo>
                  <a:lnTo>
                    <a:pt x="2480" y="5463"/>
                  </a:lnTo>
                  <a:lnTo>
                    <a:pt x="2565" y="5463"/>
                  </a:lnTo>
                  <a:lnTo>
                    <a:pt x="2651" y="5463"/>
                  </a:lnTo>
                  <a:lnTo>
                    <a:pt x="2737" y="5463"/>
                  </a:lnTo>
                  <a:lnTo>
                    <a:pt x="2822" y="5463"/>
                  </a:lnTo>
                  <a:lnTo>
                    <a:pt x="2907" y="5462"/>
                  </a:lnTo>
                  <a:lnTo>
                    <a:pt x="2993" y="5462"/>
                  </a:lnTo>
                  <a:lnTo>
                    <a:pt x="3078" y="5462"/>
                  </a:lnTo>
                  <a:lnTo>
                    <a:pt x="3164" y="5461"/>
                  </a:lnTo>
                  <a:lnTo>
                    <a:pt x="3249" y="5461"/>
                  </a:lnTo>
                  <a:lnTo>
                    <a:pt x="3333" y="5461"/>
                  </a:lnTo>
                  <a:lnTo>
                    <a:pt x="3418" y="5461"/>
                  </a:lnTo>
                  <a:lnTo>
                    <a:pt x="3497" y="5460"/>
                  </a:lnTo>
                  <a:lnTo>
                    <a:pt x="3574" y="5460"/>
                  </a:lnTo>
                  <a:lnTo>
                    <a:pt x="3650" y="5459"/>
                  </a:lnTo>
                  <a:lnTo>
                    <a:pt x="3726" y="5457"/>
                  </a:lnTo>
                  <a:lnTo>
                    <a:pt x="3800" y="5455"/>
                  </a:lnTo>
                  <a:lnTo>
                    <a:pt x="3874" y="5451"/>
                  </a:lnTo>
                  <a:lnTo>
                    <a:pt x="3946" y="5447"/>
                  </a:lnTo>
                  <a:lnTo>
                    <a:pt x="4018" y="5442"/>
                  </a:lnTo>
                  <a:lnTo>
                    <a:pt x="4088" y="5436"/>
                  </a:lnTo>
                  <a:lnTo>
                    <a:pt x="4159" y="5429"/>
                  </a:lnTo>
                  <a:lnTo>
                    <a:pt x="4228" y="5420"/>
                  </a:lnTo>
                  <a:lnTo>
                    <a:pt x="4296" y="5410"/>
                  </a:lnTo>
                  <a:lnTo>
                    <a:pt x="4364" y="5399"/>
                  </a:lnTo>
                  <a:lnTo>
                    <a:pt x="4431" y="5387"/>
                  </a:lnTo>
                  <a:lnTo>
                    <a:pt x="4496" y="5372"/>
                  </a:lnTo>
                  <a:lnTo>
                    <a:pt x="4561" y="5356"/>
                  </a:lnTo>
                  <a:lnTo>
                    <a:pt x="4625" y="5337"/>
                  </a:lnTo>
                  <a:lnTo>
                    <a:pt x="4688" y="5318"/>
                  </a:lnTo>
                  <a:lnTo>
                    <a:pt x="4750" y="5296"/>
                  </a:lnTo>
                  <a:lnTo>
                    <a:pt x="4813" y="5272"/>
                  </a:lnTo>
                  <a:lnTo>
                    <a:pt x="4873" y="5246"/>
                  </a:lnTo>
                  <a:lnTo>
                    <a:pt x="4933" y="5218"/>
                  </a:lnTo>
                  <a:lnTo>
                    <a:pt x="4992" y="5187"/>
                  </a:lnTo>
                  <a:lnTo>
                    <a:pt x="5051" y="5154"/>
                  </a:lnTo>
                  <a:lnTo>
                    <a:pt x="5109" y="5118"/>
                  </a:lnTo>
                  <a:lnTo>
                    <a:pt x="5165" y="5081"/>
                  </a:lnTo>
                  <a:lnTo>
                    <a:pt x="5221" y="5040"/>
                  </a:lnTo>
                  <a:lnTo>
                    <a:pt x="5276" y="4996"/>
                  </a:lnTo>
                  <a:lnTo>
                    <a:pt x="5332" y="4950"/>
                  </a:lnTo>
                  <a:lnTo>
                    <a:pt x="5385" y="4900"/>
                  </a:lnTo>
                  <a:lnTo>
                    <a:pt x="5438" y="4847"/>
                  </a:lnTo>
                  <a:lnTo>
                    <a:pt x="5490" y="4792"/>
                  </a:lnTo>
                  <a:lnTo>
                    <a:pt x="5538" y="4736"/>
                  </a:lnTo>
                  <a:lnTo>
                    <a:pt x="5583" y="4678"/>
                  </a:lnTo>
                  <a:lnTo>
                    <a:pt x="5625" y="4619"/>
                  </a:lnTo>
                  <a:lnTo>
                    <a:pt x="5663" y="4558"/>
                  </a:lnTo>
                  <a:lnTo>
                    <a:pt x="5698" y="4495"/>
                  </a:lnTo>
                  <a:lnTo>
                    <a:pt x="5731" y="4432"/>
                  </a:lnTo>
                  <a:lnTo>
                    <a:pt x="5761" y="4366"/>
                  </a:lnTo>
                  <a:lnTo>
                    <a:pt x="5788" y="4299"/>
                  </a:lnTo>
                  <a:lnTo>
                    <a:pt x="5813" y="4231"/>
                  </a:lnTo>
                  <a:lnTo>
                    <a:pt x="5835" y="4161"/>
                  </a:lnTo>
                  <a:lnTo>
                    <a:pt x="5856" y="4092"/>
                  </a:lnTo>
                  <a:lnTo>
                    <a:pt x="5873" y="4020"/>
                  </a:lnTo>
                  <a:lnTo>
                    <a:pt x="5889" y="3949"/>
                  </a:lnTo>
                  <a:lnTo>
                    <a:pt x="5904" y="3875"/>
                  </a:lnTo>
                  <a:lnTo>
                    <a:pt x="5916" y="3802"/>
                  </a:lnTo>
                  <a:lnTo>
                    <a:pt x="5926" y="3728"/>
                  </a:lnTo>
                  <a:lnTo>
                    <a:pt x="5935" y="3653"/>
                  </a:lnTo>
                  <a:lnTo>
                    <a:pt x="5943" y="3578"/>
                  </a:lnTo>
                  <a:lnTo>
                    <a:pt x="5949" y="3502"/>
                  </a:lnTo>
                  <a:lnTo>
                    <a:pt x="5954" y="3427"/>
                  </a:lnTo>
                  <a:lnTo>
                    <a:pt x="5958" y="3351"/>
                  </a:lnTo>
                  <a:lnTo>
                    <a:pt x="5961" y="3274"/>
                  </a:lnTo>
                  <a:lnTo>
                    <a:pt x="5963" y="3198"/>
                  </a:lnTo>
                  <a:lnTo>
                    <a:pt x="5965" y="3123"/>
                  </a:lnTo>
                  <a:lnTo>
                    <a:pt x="5966" y="2971"/>
                  </a:lnTo>
                  <a:lnTo>
                    <a:pt x="5966" y="2821"/>
                  </a:lnTo>
                  <a:lnTo>
                    <a:pt x="5965" y="2673"/>
                  </a:lnTo>
                  <a:lnTo>
                    <a:pt x="5964" y="2528"/>
                  </a:lnTo>
                  <a:lnTo>
                    <a:pt x="5964" y="2444"/>
                  </a:lnTo>
                  <a:lnTo>
                    <a:pt x="5964" y="2361"/>
                  </a:lnTo>
                  <a:lnTo>
                    <a:pt x="5964" y="2280"/>
                  </a:lnTo>
                  <a:lnTo>
                    <a:pt x="5962" y="2200"/>
                  </a:lnTo>
                  <a:lnTo>
                    <a:pt x="5960" y="2123"/>
                  </a:lnTo>
                  <a:lnTo>
                    <a:pt x="5958" y="2045"/>
                  </a:lnTo>
                  <a:lnTo>
                    <a:pt x="5953" y="1969"/>
                  </a:lnTo>
                  <a:lnTo>
                    <a:pt x="5948" y="1893"/>
                  </a:lnTo>
                  <a:lnTo>
                    <a:pt x="5940" y="1819"/>
                  </a:lnTo>
                  <a:lnTo>
                    <a:pt x="5931" y="1744"/>
                  </a:lnTo>
                  <a:lnTo>
                    <a:pt x="5926" y="1706"/>
                  </a:lnTo>
                  <a:lnTo>
                    <a:pt x="5921" y="1669"/>
                  </a:lnTo>
                  <a:lnTo>
                    <a:pt x="5914" y="1631"/>
                  </a:lnTo>
                  <a:lnTo>
                    <a:pt x="5908" y="1595"/>
                  </a:lnTo>
                  <a:lnTo>
                    <a:pt x="5900" y="1557"/>
                  </a:lnTo>
                  <a:lnTo>
                    <a:pt x="5891" y="1519"/>
                  </a:lnTo>
                  <a:lnTo>
                    <a:pt x="5883" y="1482"/>
                  </a:lnTo>
                  <a:lnTo>
                    <a:pt x="5874" y="1444"/>
                  </a:lnTo>
                  <a:lnTo>
                    <a:pt x="5864" y="1406"/>
                  </a:lnTo>
                  <a:lnTo>
                    <a:pt x="5853" y="1367"/>
                  </a:lnTo>
                  <a:lnTo>
                    <a:pt x="5841" y="1329"/>
                  </a:lnTo>
                  <a:lnTo>
                    <a:pt x="5828" y="1291"/>
                  </a:lnTo>
                  <a:lnTo>
                    <a:pt x="5817" y="1258"/>
                  </a:lnTo>
                  <a:lnTo>
                    <a:pt x="5806" y="1226"/>
                  </a:lnTo>
                  <a:lnTo>
                    <a:pt x="5793" y="1193"/>
                  </a:lnTo>
                  <a:lnTo>
                    <a:pt x="5781" y="1162"/>
                  </a:lnTo>
                  <a:lnTo>
                    <a:pt x="5768" y="1131"/>
                  </a:lnTo>
                  <a:lnTo>
                    <a:pt x="5754" y="1099"/>
                  </a:lnTo>
                  <a:lnTo>
                    <a:pt x="5739" y="1069"/>
                  </a:lnTo>
                  <a:lnTo>
                    <a:pt x="5725" y="1039"/>
                  </a:lnTo>
                  <a:lnTo>
                    <a:pt x="5711" y="1009"/>
                  </a:lnTo>
                  <a:lnTo>
                    <a:pt x="5695" y="979"/>
                  </a:lnTo>
                  <a:lnTo>
                    <a:pt x="5679" y="951"/>
                  </a:lnTo>
                  <a:lnTo>
                    <a:pt x="5663" y="922"/>
                  </a:lnTo>
                  <a:lnTo>
                    <a:pt x="5646" y="895"/>
                  </a:lnTo>
                  <a:lnTo>
                    <a:pt x="5630" y="867"/>
                  </a:lnTo>
                  <a:lnTo>
                    <a:pt x="5613" y="840"/>
                  </a:lnTo>
                  <a:lnTo>
                    <a:pt x="5595" y="814"/>
                  </a:lnTo>
                  <a:lnTo>
                    <a:pt x="5577" y="788"/>
                  </a:lnTo>
                  <a:lnTo>
                    <a:pt x="5559" y="762"/>
                  </a:lnTo>
                  <a:lnTo>
                    <a:pt x="5541" y="738"/>
                  </a:lnTo>
                  <a:lnTo>
                    <a:pt x="5522" y="713"/>
                  </a:lnTo>
                  <a:lnTo>
                    <a:pt x="5503" y="690"/>
                  </a:lnTo>
                  <a:lnTo>
                    <a:pt x="5484" y="666"/>
                  </a:lnTo>
                  <a:lnTo>
                    <a:pt x="5464" y="644"/>
                  </a:lnTo>
                  <a:lnTo>
                    <a:pt x="5445" y="622"/>
                  </a:lnTo>
                  <a:lnTo>
                    <a:pt x="5426" y="601"/>
                  </a:lnTo>
                  <a:lnTo>
                    <a:pt x="5405" y="580"/>
                  </a:lnTo>
                  <a:lnTo>
                    <a:pt x="5386" y="561"/>
                  </a:lnTo>
                  <a:lnTo>
                    <a:pt x="5365" y="541"/>
                  </a:lnTo>
                  <a:lnTo>
                    <a:pt x="5345" y="523"/>
                  </a:lnTo>
                  <a:lnTo>
                    <a:pt x="5324" y="506"/>
                  </a:lnTo>
                  <a:lnTo>
                    <a:pt x="5304" y="488"/>
                  </a:lnTo>
                  <a:lnTo>
                    <a:pt x="5284" y="472"/>
                  </a:lnTo>
                  <a:lnTo>
                    <a:pt x="5222" y="427"/>
                  </a:lnTo>
                  <a:lnTo>
                    <a:pt x="5162" y="384"/>
                  </a:lnTo>
                  <a:lnTo>
                    <a:pt x="5101" y="345"/>
                  </a:lnTo>
                  <a:lnTo>
                    <a:pt x="5038" y="308"/>
                  </a:lnTo>
                  <a:lnTo>
                    <a:pt x="4977" y="274"/>
                  </a:lnTo>
                  <a:lnTo>
                    <a:pt x="4915" y="243"/>
                  </a:lnTo>
                  <a:lnTo>
                    <a:pt x="4852" y="214"/>
                  </a:lnTo>
                  <a:lnTo>
                    <a:pt x="4789" y="187"/>
                  </a:lnTo>
                  <a:lnTo>
                    <a:pt x="4725" y="164"/>
                  </a:lnTo>
                  <a:lnTo>
                    <a:pt x="4661" y="142"/>
                  </a:lnTo>
                  <a:lnTo>
                    <a:pt x="4596" y="122"/>
                  </a:lnTo>
                  <a:lnTo>
                    <a:pt x="4531" y="104"/>
                  </a:lnTo>
                  <a:lnTo>
                    <a:pt x="4464" y="89"/>
                  </a:lnTo>
                  <a:lnTo>
                    <a:pt x="4397" y="75"/>
                  </a:lnTo>
                  <a:lnTo>
                    <a:pt x="4329" y="62"/>
                  </a:lnTo>
                  <a:lnTo>
                    <a:pt x="4261" y="51"/>
                  </a:lnTo>
                  <a:lnTo>
                    <a:pt x="4192" y="42"/>
                  </a:lnTo>
                  <a:lnTo>
                    <a:pt x="4121" y="34"/>
                  </a:lnTo>
                  <a:lnTo>
                    <a:pt x="4050" y="28"/>
                  </a:lnTo>
                  <a:lnTo>
                    <a:pt x="3977" y="21"/>
                  </a:lnTo>
                  <a:lnTo>
                    <a:pt x="3903" y="17"/>
                  </a:lnTo>
                  <a:lnTo>
                    <a:pt x="3830" y="13"/>
                  </a:lnTo>
                  <a:lnTo>
                    <a:pt x="3753" y="10"/>
                  </a:lnTo>
                  <a:lnTo>
                    <a:pt x="3677" y="8"/>
                  </a:lnTo>
                  <a:lnTo>
                    <a:pt x="3519" y="6"/>
                  </a:lnTo>
                  <a:lnTo>
                    <a:pt x="3357" y="6"/>
                  </a:lnTo>
                  <a:lnTo>
                    <a:pt x="3188" y="6"/>
                  </a:lnTo>
                  <a:lnTo>
                    <a:pt x="3014" y="6"/>
                  </a:lnTo>
                  <a:lnTo>
                    <a:pt x="2928" y="6"/>
                  </a:lnTo>
                  <a:lnTo>
                    <a:pt x="2842" y="6"/>
                  </a:lnTo>
                  <a:lnTo>
                    <a:pt x="2755" y="6"/>
                  </a:lnTo>
                  <a:lnTo>
                    <a:pt x="2669" y="6"/>
                  </a:lnTo>
                  <a:lnTo>
                    <a:pt x="2584" y="6"/>
                  </a:lnTo>
                  <a:lnTo>
                    <a:pt x="2498" y="6"/>
                  </a:lnTo>
                  <a:lnTo>
                    <a:pt x="2411" y="6"/>
                  </a:lnTo>
                  <a:lnTo>
                    <a:pt x="2325" y="6"/>
                  </a:lnTo>
                  <a:lnTo>
                    <a:pt x="2203" y="5"/>
                  </a:lnTo>
                  <a:lnTo>
                    <a:pt x="2083" y="2"/>
                  </a:lnTo>
                  <a:lnTo>
                    <a:pt x="2025" y="1"/>
                  </a:lnTo>
                  <a:lnTo>
                    <a:pt x="1967" y="0"/>
                  </a:lnTo>
                  <a:lnTo>
                    <a:pt x="1910" y="0"/>
                  </a:lnTo>
                  <a:lnTo>
                    <a:pt x="1855" y="1"/>
                  </a:lnTo>
                  <a:lnTo>
                    <a:pt x="1802" y="2"/>
                  </a:lnTo>
                  <a:lnTo>
                    <a:pt x="1750" y="5"/>
                  </a:lnTo>
                  <a:lnTo>
                    <a:pt x="1700" y="10"/>
                  </a:lnTo>
                  <a:lnTo>
                    <a:pt x="1651" y="16"/>
                  </a:lnTo>
                  <a:lnTo>
                    <a:pt x="1604" y="26"/>
                  </a:lnTo>
                  <a:lnTo>
                    <a:pt x="1559" y="37"/>
                  </a:lnTo>
                  <a:lnTo>
                    <a:pt x="1516" y="50"/>
                  </a:lnTo>
                  <a:lnTo>
                    <a:pt x="1475" y="67"/>
                  </a:lnTo>
                  <a:lnTo>
                    <a:pt x="1436" y="86"/>
                  </a:lnTo>
                  <a:lnTo>
                    <a:pt x="1400" y="108"/>
                  </a:lnTo>
                  <a:lnTo>
                    <a:pt x="1366" y="135"/>
                  </a:lnTo>
                  <a:lnTo>
                    <a:pt x="1334" y="166"/>
                  </a:lnTo>
                  <a:lnTo>
                    <a:pt x="1306" y="200"/>
                  </a:lnTo>
                  <a:lnTo>
                    <a:pt x="1280" y="238"/>
                  </a:lnTo>
                  <a:lnTo>
                    <a:pt x="1257" y="281"/>
                  </a:lnTo>
                  <a:lnTo>
                    <a:pt x="1237" y="330"/>
                  </a:lnTo>
                  <a:lnTo>
                    <a:pt x="1220" y="382"/>
                  </a:lnTo>
                  <a:lnTo>
                    <a:pt x="1207" y="440"/>
                  </a:lnTo>
                  <a:lnTo>
                    <a:pt x="1195" y="504"/>
                  </a:lnTo>
                  <a:lnTo>
                    <a:pt x="1189" y="573"/>
                  </a:lnTo>
                  <a:lnTo>
                    <a:pt x="1185" y="649"/>
                  </a:lnTo>
                  <a:lnTo>
                    <a:pt x="1185" y="730"/>
                  </a:lnTo>
                  <a:lnTo>
                    <a:pt x="1189" y="819"/>
                  </a:lnTo>
                  <a:lnTo>
                    <a:pt x="1196" y="913"/>
                  </a:lnTo>
                  <a:lnTo>
                    <a:pt x="1248" y="916"/>
                  </a:lnTo>
                  <a:lnTo>
                    <a:pt x="1319" y="919"/>
                  </a:lnTo>
                  <a:lnTo>
                    <a:pt x="1406" y="920"/>
                  </a:lnTo>
                  <a:lnTo>
                    <a:pt x="1506" y="921"/>
                  </a:lnTo>
                  <a:lnTo>
                    <a:pt x="1617" y="922"/>
                  </a:lnTo>
                  <a:lnTo>
                    <a:pt x="1738" y="922"/>
                  </a:lnTo>
                  <a:lnTo>
                    <a:pt x="1864" y="922"/>
                  </a:lnTo>
                  <a:lnTo>
                    <a:pt x="1994" y="922"/>
                  </a:lnTo>
                  <a:lnTo>
                    <a:pt x="2126" y="921"/>
                  </a:lnTo>
                  <a:lnTo>
                    <a:pt x="2256" y="920"/>
                  </a:lnTo>
                  <a:lnTo>
                    <a:pt x="2381" y="919"/>
                  </a:lnTo>
                  <a:lnTo>
                    <a:pt x="2501" y="918"/>
                  </a:lnTo>
                  <a:lnTo>
                    <a:pt x="2612" y="917"/>
                  </a:lnTo>
                  <a:lnTo>
                    <a:pt x="2711" y="917"/>
                  </a:lnTo>
                  <a:lnTo>
                    <a:pt x="2796" y="916"/>
                  </a:lnTo>
                  <a:lnTo>
                    <a:pt x="2866" y="916"/>
                  </a:lnTo>
                  <a:lnTo>
                    <a:pt x="2966" y="915"/>
                  </a:lnTo>
                  <a:lnTo>
                    <a:pt x="3068" y="912"/>
                  </a:lnTo>
                  <a:lnTo>
                    <a:pt x="3169" y="908"/>
                  </a:lnTo>
                  <a:lnTo>
                    <a:pt x="3271" y="905"/>
                  </a:lnTo>
                  <a:lnTo>
                    <a:pt x="3321" y="905"/>
                  </a:lnTo>
                  <a:lnTo>
                    <a:pt x="3370" y="904"/>
                  </a:lnTo>
                  <a:lnTo>
                    <a:pt x="3419" y="904"/>
                  </a:lnTo>
                  <a:lnTo>
                    <a:pt x="3467" y="906"/>
                  </a:lnTo>
                  <a:lnTo>
                    <a:pt x="3515" y="908"/>
                  </a:lnTo>
                  <a:lnTo>
                    <a:pt x="3562" y="911"/>
                  </a:lnTo>
                  <a:lnTo>
                    <a:pt x="3607" y="915"/>
                  </a:lnTo>
                  <a:lnTo>
                    <a:pt x="3652" y="921"/>
                  </a:lnTo>
                  <a:lnTo>
                    <a:pt x="3695" y="928"/>
                  </a:lnTo>
                  <a:lnTo>
                    <a:pt x="3737" y="938"/>
                  </a:lnTo>
                  <a:lnTo>
                    <a:pt x="3778" y="949"/>
                  </a:lnTo>
                  <a:lnTo>
                    <a:pt x="3817" y="962"/>
                  </a:lnTo>
                  <a:lnTo>
                    <a:pt x="3853" y="976"/>
                  </a:lnTo>
                  <a:lnTo>
                    <a:pt x="3889" y="994"/>
                  </a:lnTo>
                  <a:lnTo>
                    <a:pt x="3923" y="1013"/>
                  </a:lnTo>
                  <a:lnTo>
                    <a:pt x="3955" y="1036"/>
                  </a:lnTo>
                  <a:lnTo>
                    <a:pt x="3984" y="1060"/>
                  </a:lnTo>
                  <a:lnTo>
                    <a:pt x="4012" y="1088"/>
                  </a:lnTo>
                  <a:lnTo>
                    <a:pt x="4036" y="1119"/>
                  </a:lnTo>
                  <a:lnTo>
                    <a:pt x="4060" y="1152"/>
                  </a:lnTo>
                  <a:lnTo>
                    <a:pt x="4079" y="1189"/>
                  </a:lnTo>
                  <a:lnTo>
                    <a:pt x="4098" y="1230"/>
                  </a:lnTo>
                  <a:lnTo>
                    <a:pt x="4112" y="1274"/>
                  </a:lnTo>
                  <a:lnTo>
                    <a:pt x="4124" y="1321"/>
                  </a:lnTo>
                  <a:lnTo>
                    <a:pt x="4128" y="1346"/>
                  </a:lnTo>
                  <a:lnTo>
                    <a:pt x="4132" y="1381"/>
                  </a:lnTo>
                  <a:lnTo>
                    <a:pt x="4135" y="1424"/>
                  </a:lnTo>
                  <a:lnTo>
                    <a:pt x="4138" y="1474"/>
                  </a:lnTo>
                  <a:lnTo>
                    <a:pt x="4141" y="1532"/>
                  </a:lnTo>
                  <a:lnTo>
                    <a:pt x="4144" y="1598"/>
                  </a:lnTo>
                  <a:lnTo>
                    <a:pt x="4146" y="1669"/>
                  </a:lnTo>
                  <a:lnTo>
                    <a:pt x="4147" y="1746"/>
                  </a:lnTo>
                  <a:lnTo>
                    <a:pt x="4150" y="1916"/>
                  </a:lnTo>
                  <a:lnTo>
                    <a:pt x="4152" y="2100"/>
                  </a:lnTo>
                  <a:lnTo>
                    <a:pt x="4152" y="2297"/>
                  </a:lnTo>
                  <a:lnTo>
                    <a:pt x="4153" y="2499"/>
                  </a:lnTo>
                  <a:lnTo>
                    <a:pt x="4152" y="2704"/>
                  </a:lnTo>
                  <a:lnTo>
                    <a:pt x="4151" y="2906"/>
                  </a:lnTo>
                  <a:lnTo>
                    <a:pt x="4150" y="3100"/>
                  </a:lnTo>
                  <a:lnTo>
                    <a:pt x="4149" y="3282"/>
                  </a:lnTo>
                  <a:lnTo>
                    <a:pt x="4148" y="3448"/>
                  </a:lnTo>
                  <a:lnTo>
                    <a:pt x="4147" y="3592"/>
                  </a:lnTo>
                  <a:lnTo>
                    <a:pt x="4147" y="3711"/>
                  </a:lnTo>
                  <a:lnTo>
                    <a:pt x="4146" y="3798"/>
                  </a:lnTo>
                  <a:lnTo>
                    <a:pt x="4146" y="3846"/>
                  </a:lnTo>
                  <a:lnTo>
                    <a:pt x="4146" y="3893"/>
                  </a:lnTo>
                  <a:lnTo>
                    <a:pt x="4145" y="3940"/>
                  </a:lnTo>
                  <a:lnTo>
                    <a:pt x="4143" y="3985"/>
                  </a:lnTo>
                  <a:lnTo>
                    <a:pt x="4139" y="4030"/>
                  </a:lnTo>
                  <a:lnTo>
                    <a:pt x="4135" y="4073"/>
                  </a:lnTo>
                  <a:lnTo>
                    <a:pt x="4132" y="4095"/>
                  </a:lnTo>
                  <a:lnTo>
                    <a:pt x="4129" y="4116"/>
                  </a:lnTo>
                  <a:lnTo>
                    <a:pt x="4125" y="4137"/>
                  </a:lnTo>
                  <a:lnTo>
                    <a:pt x="4121" y="4157"/>
                  </a:lnTo>
                  <a:lnTo>
                    <a:pt x="4116" y="4177"/>
                  </a:lnTo>
                  <a:lnTo>
                    <a:pt x="4111" y="4197"/>
                  </a:lnTo>
                  <a:lnTo>
                    <a:pt x="4105" y="4217"/>
                  </a:lnTo>
                  <a:lnTo>
                    <a:pt x="4099" y="4235"/>
                  </a:lnTo>
                  <a:lnTo>
                    <a:pt x="4091" y="4254"/>
                  </a:lnTo>
                  <a:lnTo>
                    <a:pt x="4083" y="4272"/>
                  </a:lnTo>
                  <a:lnTo>
                    <a:pt x="4074" y="4290"/>
                  </a:lnTo>
                  <a:lnTo>
                    <a:pt x="4065" y="4308"/>
                  </a:lnTo>
                  <a:lnTo>
                    <a:pt x="4055" y="4325"/>
                  </a:lnTo>
                  <a:lnTo>
                    <a:pt x="4043" y="4342"/>
                  </a:lnTo>
                  <a:lnTo>
                    <a:pt x="4031" y="4358"/>
                  </a:lnTo>
                  <a:lnTo>
                    <a:pt x="4018" y="4373"/>
                  </a:lnTo>
                  <a:lnTo>
                    <a:pt x="4005" y="4389"/>
                  </a:lnTo>
                  <a:lnTo>
                    <a:pt x="3989" y="4404"/>
                  </a:lnTo>
                  <a:lnTo>
                    <a:pt x="3974" y="4418"/>
                  </a:lnTo>
                  <a:lnTo>
                    <a:pt x="3957" y="4432"/>
                  </a:lnTo>
                  <a:lnTo>
                    <a:pt x="3940" y="4444"/>
                  </a:lnTo>
                  <a:lnTo>
                    <a:pt x="3923" y="4456"/>
                  </a:lnTo>
                  <a:lnTo>
                    <a:pt x="3906" y="4466"/>
                  </a:lnTo>
                  <a:lnTo>
                    <a:pt x="3887" y="4477"/>
                  </a:lnTo>
                  <a:lnTo>
                    <a:pt x="3868" y="4485"/>
                  </a:lnTo>
                  <a:lnTo>
                    <a:pt x="3848" y="4493"/>
                  </a:lnTo>
                  <a:lnTo>
                    <a:pt x="3828" y="4501"/>
                  </a:lnTo>
                  <a:lnTo>
                    <a:pt x="3807" y="4507"/>
                  </a:lnTo>
                  <a:lnTo>
                    <a:pt x="3787" y="4515"/>
                  </a:lnTo>
                  <a:lnTo>
                    <a:pt x="3766" y="4520"/>
                  </a:lnTo>
                  <a:lnTo>
                    <a:pt x="3744" y="4525"/>
                  </a:lnTo>
                  <a:lnTo>
                    <a:pt x="3722" y="4529"/>
                  </a:lnTo>
                  <a:lnTo>
                    <a:pt x="3677" y="4536"/>
                  </a:lnTo>
                  <a:lnTo>
                    <a:pt x="3630" y="4542"/>
                  </a:lnTo>
                  <a:lnTo>
                    <a:pt x="3583" y="4545"/>
                  </a:lnTo>
                  <a:lnTo>
                    <a:pt x="3535" y="4548"/>
                  </a:lnTo>
                  <a:lnTo>
                    <a:pt x="3486" y="4549"/>
                  </a:lnTo>
                  <a:lnTo>
                    <a:pt x="3438" y="4550"/>
                  </a:lnTo>
                  <a:lnTo>
                    <a:pt x="3389" y="4550"/>
                  </a:lnTo>
                  <a:lnTo>
                    <a:pt x="3340" y="4549"/>
                  </a:lnTo>
                  <a:lnTo>
                    <a:pt x="3291" y="4549"/>
                  </a:lnTo>
                  <a:lnTo>
                    <a:pt x="3244" y="4549"/>
                  </a:lnTo>
                  <a:lnTo>
                    <a:pt x="3191" y="4549"/>
                  </a:lnTo>
                  <a:lnTo>
                    <a:pt x="3140" y="4549"/>
                  </a:lnTo>
                  <a:lnTo>
                    <a:pt x="3089" y="4549"/>
                  </a:lnTo>
                  <a:lnTo>
                    <a:pt x="3037" y="4549"/>
                  </a:lnTo>
                  <a:lnTo>
                    <a:pt x="2986" y="4549"/>
                  </a:lnTo>
                  <a:lnTo>
                    <a:pt x="2934" y="4549"/>
                  </a:lnTo>
                  <a:lnTo>
                    <a:pt x="2883" y="4549"/>
                  </a:lnTo>
                  <a:lnTo>
                    <a:pt x="2832" y="4549"/>
                  </a:lnTo>
                  <a:lnTo>
                    <a:pt x="2780" y="4549"/>
                  </a:lnTo>
                  <a:lnTo>
                    <a:pt x="2729" y="4549"/>
                  </a:lnTo>
                  <a:lnTo>
                    <a:pt x="2677" y="4549"/>
                  </a:lnTo>
                  <a:lnTo>
                    <a:pt x="2625" y="4549"/>
                  </a:lnTo>
                  <a:lnTo>
                    <a:pt x="2574" y="4549"/>
                  </a:lnTo>
                  <a:lnTo>
                    <a:pt x="2522" y="4549"/>
                  </a:lnTo>
                  <a:lnTo>
                    <a:pt x="2471" y="4549"/>
                  </a:lnTo>
                  <a:lnTo>
                    <a:pt x="2420" y="4549"/>
                  </a:lnTo>
                  <a:lnTo>
                    <a:pt x="2369" y="4549"/>
                  </a:lnTo>
                  <a:lnTo>
                    <a:pt x="2320" y="4548"/>
                  </a:lnTo>
                  <a:lnTo>
                    <a:pt x="2271" y="4547"/>
                  </a:lnTo>
                  <a:lnTo>
                    <a:pt x="2224" y="4544"/>
                  </a:lnTo>
                  <a:lnTo>
                    <a:pt x="2178" y="4540"/>
                  </a:lnTo>
                  <a:lnTo>
                    <a:pt x="2134" y="4534"/>
                  </a:lnTo>
                  <a:lnTo>
                    <a:pt x="2113" y="4531"/>
                  </a:lnTo>
                  <a:lnTo>
                    <a:pt x="2092" y="4527"/>
                  </a:lnTo>
                  <a:lnTo>
                    <a:pt x="2072" y="4522"/>
                  </a:lnTo>
                  <a:lnTo>
                    <a:pt x="2052" y="4517"/>
                  </a:lnTo>
                  <a:lnTo>
                    <a:pt x="2033" y="4510"/>
                  </a:lnTo>
                  <a:lnTo>
                    <a:pt x="2014" y="4503"/>
                  </a:lnTo>
                  <a:lnTo>
                    <a:pt x="1996" y="4496"/>
                  </a:lnTo>
                  <a:lnTo>
                    <a:pt x="1979" y="4487"/>
                  </a:lnTo>
                  <a:lnTo>
                    <a:pt x="1961" y="4478"/>
                  </a:lnTo>
                  <a:lnTo>
                    <a:pt x="1946" y="4467"/>
                  </a:lnTo>
                  <a:lnTo>
                    <a:pt x="1931" y="4457"/>
                  </a:lnTo>
                  <a:lnTo>
                    <a:pt x="1916" y="4445"/>
                  </a:lnTo>
                  <a:lnTo>
                    <a:pt x="1902" y="4432"/>
                  </a:lnTo>
                  <a:lnTo>
                    <a:pt x="1889" y="4418"/>
                  </a:lnTo>
                  <a:lnTo>
                    <a:pt x="1877" y="4403"/>
                  </a:lnTo>
                  <a:lnTo>
                    <a:pt x="1865" y="4387"/>
                  </a:lnTo>
                  <a:lnTo>
                    <a:pt x="1854" y="4369"/>
                  </a:lnTo>
                  <a:lnTo>
                    <a:pt x="1845" y="4351"/>
                  </a:lnTo>
                  <a:lnTo>
                    <a:pt x="1836" y="4331"/>
                  </a:lnTo>
                  <a:lnTo>
                    <a:pt x="1828" y="4310"/>
                  </a:lnTo>
                  <a:lnTo>
                    <a:pt x="1822" y="4288"/>
                  </a:lnTo>
                  <a:lnTo>
                    <a:pt x="1816" y="4267"/>
                  </a:lnTo>
                  <a:lnTo>
                    <a:pt x="1812" y="4245"/>
                  </a:lnTo>
                  <a:lnTo>
                    <a:pt x="1810" y="4225"/>
                  </a:lnTo>
                  <a:lnTo>
                    <a:pt x="1809" y="4203"/>
                  </a:lnTo>
                  <a:lnTo>
                    <a:pt x="1809" y="4182"/>
                  </a:lnTo>
                  <a:lnTo>
                    <a:pt x="1811" y="4161"/>
                  </a:lnTo>
                  <a:lnTo>
                    <a:pt x="1814" y="4140"/>
                  </a:lnTo>
                  <a:lnTo>
                    <a:pt x="1817" y="4119"/>
                  </a:lnTo>
                  <a:lnTo>
                    <a:pt x="1823" y="4099"/>
                  </a:lnTo>
                  <a:lnTo>
                    <a:pt x="1829" y="4079"/>
                  </a:lnTo>
                  <a:lnTo>
                    <a:pt x="1835" y="4058"/>
                  </a:lnTo>
                  <a:lnTo>
                    <a:pt x="1842" y="4039"/>
                  </a:lnTo>
                  <a:lnTo>
                    <a:pt x="1850" y="4019"/>
                  </a:lnTo>
                  <a:lnTo>
                    <a:pt x="1859" y="4000"/>
                  </a:lnTo>
                  <a:lnTo>
                    <a:pt x="1869" y="3980"/>
                  </a:lnTo>
                  <a:lnTo>
                    <a:pt x="1889" y="3943"/>
                  </a:lnTo>
                  <a:lnTo>
                    <a:pt x="1910" y="3908"/>
                  </a:lnTo>
                  <a:lnTo>
                    <a:pt x="1933" y="3874"/>
                  </a:lnTo>
                  <a:lnTo>
                    <a:pt x="1956" y="3841"/>
                  </a:lnTo>
                  <a:lnTo>
                    <a:pt x="2001" y="3781"/>
                  </a:lnTo>
                  <a:lnTo>
                    <a:pt x="2041" y="3730"/>
                  </a:lnTo>
                  <a:lnTo>
                    <a:pt x="3111" y="2301"/>
                  </a:lnTo>
                  <a:lnTo>
                    <a:pt x="3134" y="2270"/>
                  </a:lnTo>
                  <a:lnTo>
                    <a:pt x="3158" y="2239"/>
                  </a:lnTo>
                  <a:lnTo>
                    <a:pt x="3180" y="2210"/>
                  </a:lnTo>
                  <a:lnTo>
                    <a:pt x="3203" y="2180"/>
                  </a:lnTo>
                  <a:lnTo>
                    <a:pt x="3225" y="2150"/>
                  </a:lnTo>
                  <a:lnTo>
                    <a:pt x="3248" y="2121"/>
                  </a:lnTo>
                  <a:lnTo>
                    <a:pt x="3269" y="2091"/>
                  </a:lnTo>
                  <a:lnTo>
                    <a:pt x="3291" y="2061"/>
                  </a:lnTo>
                  <a:lnTo>
                    <a:pt x="3312" y="2033"/>
                  </a:lnTo>
                  <a:lnTo>
                    <a:pt x="3334" y="2004"/>
                  </a:lnTo>
                  <a:lnTo>
                    <a:pt x="3358" y="1974"/>
                  </a:lnTo>
                  <a:lnTo>
                    <a:pt x="3382" y="1944"/>
                  </a:lnTo>
                  <a:lnTo>
                    <a:pt x="3405" y="1913"/>
                  </a:lnTo>
                  <a:lnTo>
                    <a:pt x="3426" y="1883"/>
                  </a:lnTo>
                  <a:lnTo>
                    <a:pt x="3437" y="1868"/>
                  </a:lnTo>
                  <a:lnTo>
                    <a:pt x="3446" y="1852"/>
                  </a:lnTo>
                  <a:lnTo>
                    <a:pt x="3454" y="1838"/>
                  </a:lnTo>
                  <a:lnTo>
                    <a:pt x="3461" y="1823"/>
                  </a:lnTo>
                  <a:lnTo>
                    <a:pt x="1189" y="1825"/>
                  </a:lnTo>
                  <a:lnTo>
                    <a:pt x="308" y="3008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4" name="Freeform 11"/>
            <p:cNvSpPr>
              <a:spLocks/>
            </p:cNvSpPr>
            <p:nvPr userDrawn="1"/>
          </p:nvSpPr>
          <p:spPr bwMode="auto">
            <a:xfrm>
              <a:off x="5121" y="3022"/>
              <a:ext cx="196" cy="156"/>
            </a:xfrm>
            <a:custGeom>
              <a:avLst/>
              <a:gdLst/>
              <a:ahLst/>
              <a:cxnLst>
                <a:cxn ang="0">
                  <a:pos x="2720" y="5463"/>
                </a:cxn>
                <a:cxn ang="0">
                  <a:pos x="3040" y="915"/>
                </a:cxn>
                <a:cxn ang="0">
                  <a:pos x="3460" y="914"/>
                </a:cxn>
                <a:cxn ang="0">
                  <a:pos x="3880" y="916"/>
                </a:cxn>
                <a:cxn ang="0">
                  <a:pos x="4298" y="918"/>
                </a:cxn>
                <a:cxn ang="0">
                  <a:pos x="4646" y="922"/>
                </a:cxn>
                <a:cxn ang="0">
                  <a:pos x="4757" y="935"/>
                </a:cxn>
                <a:cxn ang="0">
                  <a:pos x="4839" y="957"/>
                </a:cxn>
                <a:cxn ang="0">
                  <a:pos x="4912" y="990"/>
                </a:cxn>
                <a:cxn ang="0">
                  <a:pos x="4972" y="1037"/>
                </a:cxn>
                <a:cxn ang="0">
                  <a:pos x="5020" y="1104"/>
                </a:cxn>
                <a:cxn ang="0">
                  <a:pos x="5053" y="1190"/>
                </a:cxn>
                <a:cxn ang="0">
                  <a:pos x="5063" y="1276"/>
                </a:cxn>
                <a:cxn ang="0">
                  <a:pos x="5052" y="1359"/>
                </a:cxn>
                <a:cxn ang="0">
                  <a:pos x="5026" y="1438"/>
                </a:cxn>
                <a:cxn ang="0">
                  <a:pos x="4989" y="1512"/>
                </a:cxn>
                <a:cxn ang="0">
                  <a:pos x="4889" y="1658"/>
                </a:cxn>
                <a:cxn ang="0">
                  <a:pos x="3727" y="3210"/>
                </a:cxn>
                <a:cxn ang="0">
                  <a:pos x="3640" y="3327"/>
                </a:cxn>
                <a:cxn ang="0">
                  <a:pos x="3551" y="3444"/>
                </a:cxn>
                <a:cxn ang="0">
                  <a:pos x="3444" y="3588"/>
                </a:cxn>
                <a:cxn ang="0">
                  <a:pos x="3412" y="3643"/>
                </a:cxn>
                <a:cxn ang="0">
                  <a:pos x="5684" y="3621"/>
                </a:cxn>
                <a:cxn ang="0">
                  <a:pos x="5828" y="3445"/>
                </a:cxn>
                <a:cxn ang="0">
                  <a:pos x="6062" y="3137"/>
                </a:cxn>
                <a:cxn ang="0">
                  <a:pos x="6267" y="2859"/>
                </a:cxn>
                <a:cxn ang="0">
                  <a:pos x="6360" y="2731"/>
                </a:cxn>
                <a:cxn ang="0">
                  <a:pos x="6443" y="2618"/>
                </a:cxn>
                <a:cxn ang="0">
                  <a:pos x="6540" y="2492"/>
                </a:cxn>
                <a:cxn ang="0">
                  <a:pos x="6676" y="2311"/>
                </a:cxn>
                <a:cxn ang="0">
                  <a:pos x="6754" y="2189"/>
                </a:cxn>
                <a:cxn ang="0">
                  <a:pos x="6806" y="2086"/>
                </a:cxn>
                <a:cxn ang="0">
                  <a:pos x="6843" y="1979"/>
                </a:cxn>
                <a:cxn ang="0">
                  <a:pos x="6864" y="1869"/>
                </a:cxn>
                <a:cxn ang="0">
                  <a:pos x="6863" y="1754"/>
                </a:cxn>
                <a:cxn ang="0">
                  <a:pos x="6837" y="1645"/>
                </a:cxn>
                <a:cxn ang="0">
                  <a:pos x="6784" y="1527"/>
                </a:cxn>
                <a:cxn ang="0">
                  <a:pos x="6710" y="1398"/>
                </a:cxn>
                <a:cxn ang="0">
                  <a:pos x="6547" y="1162"/>
                </a:cxn>
                <a:cxn ang="0">
                  <a:pos x="6357" y="913"/>
                </a:cxn>
                <a:cxn ang="0">
                  <a:pos x="6199" y="705"/>
                </a:cxn>
                <a:cxn ang="0">
                  <a:pos x="6039" y="511"/>
                </a:cxn>
                <a:cxn ang="0">
                  <a:pos x="5940" y="408"/>
                </a:cxn>
                <a:cxn ang="0">
                  <a:pos x="5834" y="314"/>
                </a:cxn>
                <a:cxn ang="0">
                  <a:pos x="5720" y="229"/>
                </a:cxn>
                <a:cxn ang="0">
                  <a:pos x="5596" y="157"/>
                </a:cxn>
                <a:cxn ang="0">
                  <a:pos x="5461" y="100"/>
                </a:cxn>
                <a:cxn ang="0">
                  <a:pos x="5315" y="60"/>
                </a:cxn>
                <a:cxn ang="0">
                  <a:pos x="5147" y="32"/>
                </a:cxn>
                <a:cxn ang="0">
                  <a:pos x="4912" y="11"/>
                </a:cxn>
                <a:cxn ang="0">
                  <a:pos x="4506" y="0"/>
                </a:cxn>
                <a:cxn ang="0">
                  <a:pos x="4105" y="4"/>
                </a:cxn>
                <a:cxn ang="0">
                  <a:pos x="676" y="6"/>
                </a:cxn>
                <a:cxn ang="0">
                  <a:pos x="441" y="24"/>
                </a:cxn>
                <a:cxn ang="0">
                  <a:pos x="268" y="75"/>
                </a:cxn>
                <a:cxn ang="0">
                  <a:pos x="147" y="155"/>
                </a:cxn>
                <a:cxn ang="0">
                  <a:pos x="69" y="263"/>
                </a:cxn>
                <a:cxn ang="0">
                  <a:pos x="25" y="395"/>
                </a:cxn>
                <a:cxn ang="0">
                  <a:pos x="5" y="549"/>
                </a:cxn>
                <a:cxn ang="0">
                  <a:pos x="0" y="723"/>
                </a:cxn>
              </a:cxnLst>
              <a:rect l="0" t="0" r="r" b="b"/>
              <a:pathLst>
                <a:path w="6866" h="5463">
                  <a:moveTo>
                    <a:pt x="0" y="916"/>
                  </a:moveTo>
                  <a:lnTo>
                    <a:pt x="904" y="918"/>
                  </a:lnTo>
                  <a:lnTo>
                    <a:pt x="909" y="5461"/>
                  </a:lnTo>
                  <a:lnTo>
                    <a:pt x="2720" y="5463"/>
                  </a:lnTo>
                  <a:lnTo>
                    <a:pt x="2726" y="919"/>
                  </a:lnTo>
                  <a:lnTo>
                    <a:pt x="2830" y="917"/>
                  </a:lnTo>
                  <a:lnTo>
                    <a:pt x="2935" y="916"/>
                  </a:lnTo>
                  <a:lnTo>
                    <a:pt x="3040" y="915"/>
                  </a:lnTo>
                  <a:lnTo>
                    <a:pt x="3144" y="914"/>
                  </a:lnTo>
                  <a:lnTo>
                    <a:pt x="3250" y="914"/>
                  </a:lnTo>
                  <a:lnTo>
                    <a:pt x="3355" y="914"/>
                  </a:lnTo>
                  <a:lnTo>
                    <a:pt x="3460" y="914"/>
                  </a:lnTo>
                  <a:lnTo>
                    <a:pt x="3565" y="915"/>
                  </a:lnTo>
                  <a:lnTo>
                    <a:pt x="3669" y="915"/>
                  </a:lnTo>
                  <a:lnTo>
                    <a:pt x="3775" y="916"/>
                  </a:lnTo>
                  <a:lnTo>
                    <a:pt x="3880" y="916"/>
                  </a:lnTo>
                  <a:lnTo>
                    <a:pt x="3984" y="917"/>
                  </a:lnTo>
                  <a:lnTo>
                    <a:pt x="4089" y="917"/>
                  </a:lnTo>
                  <a:lnTo>
                    <a:pt x="4194" y="918"/>
                  </a:lnTo>
                  <a:lnTo>
                    <a:pt x="4298" y="918"/>
                  </a:lnTo>
                  <a:lnTo>
                    <a:pt x="4402" y="918"/>
                  </a:lnTo>
                  <a:lnTo>
                    <a:pt x="4501" y="918"/>
                  </a:lnTo>
                  <a:lnTo>
                    <a:pt x="4599" y="920"/>
                  </a:lnTo>
                  <a:lnTo>
                    <a:pt x="4646" y="922"/>
                  </a:lnTo>
                  <a:lnTo>
                    <a:pt x="4692" y="926"/>
                  </a:lnTo>
                  <a:lnTo>
                    <a:pt x="4715" y="929"/>
                  </a:lnTo>
                  <a:lnTo>
                    <a:pt x="4736" y="932"/>
                  </a:lnTo>
                  <a:lnTo>
                    <a:pt x="4757" y="935"/>
                  </a:lnTo>
                  <a:lnTo>
                    <a:pt x="4779" y="940"/>
                  </a:lnTo>
                  <a:lnTo>
                    <a:pt x="4799" y="944"/>
                  </a:lnTo>
                  <a:lnTo>
                    <a:pt x="4820" y="950"/>
                  </a:lnTo>
                  <a:lnTo>
                    <a:pt x="4839" y="957"/>
                  </a:lnTo>
                  <a:lnTo>
                    <a:pt x="4859" y="964"/>
                  </a:lnTo>
                  <a:lnTo>
                    <a:pt x="4877" y="972"/>
                  </a:lnTo>
                  <a:lnTo>
                    <a:pt x="4894" y="980"/>
                  </a:lnTo>
                  <a:lnTo>
                    <a:pt x="4912" y="990"/>
                  </a:lnTo>
                  <a:lnTo>
                    <a:pt x="4928" y="1001"/>
                  </a:lnTo>
                  <a:lnTo>
                    <a:pt x="4943" y="1012"/>
                  </a:lnTo>
                  <a:lnTo>
                    <a:pt x="4959" y="1024"/>
                  </a:lnTo>
                  <a:lnTo>
                    <a:pt x="4972" y="1037"/>
                  </a:lnTo>
                  <a:lnTo>
                    <a:pt x="4985" y="1053"/>
                  </a:lnTo>
                  <a:lnTo>
                    <a:pt x="4997" y="1068"/>
                  </a:lnTo>
                  <a:lnTo>
                    <a:pt x="5010" y="1086"/>
                  </a:lnTo>
                  <a:lnTo>
                    <a:pt x="5020" y="1104"/>
                  </a:lnTo>
                  <a:lnTo>
                    <a:pt x="5030" y="1123"/>
                  </a:lnTo>
                  <a:lnTo>
                    <a:pt x="5039" y="1145"/>
                  </a:lnTo>
                  <a:lnTo>
                    <a:pt x="5047" y="1167"/>
                  </a:lnTo>
                  <a:lnTo>
                    <a:pt x="5053" y="1190"/>
                  </a:lnTo>
                  <a:lnTo>
                    <a:pt x="5058" y="1211"/>
                  </a:lnTo>
                  <a:lnTo>
                    <a:pt x="5061" y="1233"/>
                  </a:lnTo>
                  <a:lnTo>
                    <a:pt x="5062" y="1254"/>
                  </a:lnTo>
                  <a:lnTo>
                    <a:pt x="5063" y="1276"/>
                  </a:lnTo>
                  <a:lnTo>
                    <a:pt x="5062" y="1297"/>
                  </a:lnTo>
                  <a:lnTo>
                    <a:pt x="5060" y="1318"/>
                  </a:lnTo>
                  <a:lnTo>
                    <a:pt x="5056" y="1338"/>
                  </a:lnTo>
                  <a:lnTo>
                    <a:pt x="5052" y="1359"/>
                  </a:lnTo>
                  <a:lnTo>
                    <a:pt x="5047" y="1379"/>
                  </a:lnTo>
                  <a:lnTo>
                    <a:pt x="5040" y="1399"/>
                  </a:lnTo>
                  <a:lnTo>
                    <a:pt x="5033" y="1418"/>
                  </a:lnTo>
                  <a:lnTo>
                    <a:pt x="5026" y="1438"/>
                  </a:lnTo>
                  <a:lnTo>
                    <a:pt x="5018" y="1457"/>
                  </a:lnTo>
                  <a:lnTo>
                    <a:pt x="5009" y="1476"/>
                  </a:lnTo>
                  <a:lnTo>
                    <a:pt x="5000" y="1494"/>
                  </a:lnTo>
                  <a:lnTo>
                    <a:pt x="4989" y="1512"/>
                  </a:lnTo>
                  <a:lnTo>
                    <a:pt x="4979" y="1530"/>
                  </a:lnTo>
                  <a:lnTo>
                    <a:pt x="4957" y="1565"/>
                  </a:lnTo>
                  <a:lnTo>
                    <a:pt x="4934" y="1597"/>
                  </a:lnTo>
                  <a:lnTo>
                    <a:pt x="4889" y="1658"/>
                  </a:lnTo>
                  <a:lnTo>
                    <a:pt x="4848" y="1712"/>
                  </a:lnTo>
                  <a:lnTo>
                    <a:pt x="3773" y="3149"/>
                  </a:lnTo>
                  <a:lnTo>
                    <a:pt x="3749" y="3180"/>
                  </a:lnTo>
                  <a:lnTo>
                    <a:pt x="3727" y="3210"/>
                  </a:lnTo>
                  <a:lnTo>
                    <a:pt x="3705" y="3239"/>
                  </a:lnTo>
                  <a:lnTo>
                    <a:pt x="3684" y="3268"/>
                  </a:lnTo>
                  <a:lnTo>
                    <a:pt x="3662" y="3297"/>
                  </a:lnTo>
                  <a:lnTo>
                    <a:pt x="3640" y="3327"/>
                  </a:lnTo>
                  <a:lnTo>
                    <a:pt x="3617" y="3357"/>
                  </a:lnTo>
                  <a:lnTo>
                    <a:pt x="3594" y="3389"/>
                  </a:lnTo>
                  <a:lnTo>
                    <a:pt x="3575" y="3413"/>
                  </a:lnTo>
                  <a:lnTo>
                    <a:pt x="3551" y="3444"/>
                  </a:lnTo>
                  <a:lnTo>
                    <a:pt x="3524" y="3478"/>
                  </a:lnTo>
                  <a:lnTo>
                    <a:pt x="3496" y="3515"/>
                  </a:lnTo>
                  <a:lnTo>
                    <a:pt x="3468" y="3553"/>
                  </a:lnTo>
                  <a:lnTo>
                    <a:pt x="3444" y="3588"/>
                  </a:lnTo>
                  <a:lnTo>
                    <a:pt x="3433" y="3604"/>
                  </a:lnTo>
                  <a:lnTo>
                    <a:pt x="3424" y="3619"/>
                  </a:lnTo>
                  <a:lnTo>
                    <a:pt x="3417" y="3632"/>
                  </a:lnTo>
                  <a:lnTo>
                    <a:pt x="3412" y="3643"/>
                  </a:lnTo>
                  <a:lnTo>
                    <a:pt x="5657" y="3644"/>
                  </a:lnTo>
                  <a:lnTo>
                    <a:pt x="5664" y="3640"/>
                  </a:lnTo>
                  <a:lnTo>
                    <a:pt x="5672" y="3633"/>
                  </a:lnTo>
                  <a:lnTo>
                    <a:pt x="5684" y="3621"/>
                  </a:lnTo>
                  <a:lnTo>
                    <a:pt x="5698" y="3605"/>
                  </a:lnTo>
                  <a:lnTo>
                    <a:pt x="5734" y="3563"/>
                  </a:lnTo>
                  <a:lnTo>
                    <a:pt x="5778" y="3509"/>
                  </a:lnTo>
                  <a:lnTo>
                    <a:pt x="5828" y="3445"/>
                  </a:lnTo>
                  <a:lnTo>
                    <a:pt x="5883" y="3373"/>
                  </a:lnTo>
                  <a:lnTo>
                    <a:pt x="5942" y="3296"/>
                  </a:lnTo>
                  <a:lnTo>
                    <a:pt x="6002" y="3216"/>
                  </a:lnTo>
                  <a:lnTo>
                    <a:pt x="6062" y="3137"/>
                  </a:lnTo>
                  <a:lnTo>
                    <a:pt x="6120" y="3059"/>
                  </a:lnTo>
                  <a:lnTo>
                    <a:pt x="6174" y="2985"/>
                  </a:lnTo>
                  <a:lnTo>
                    <a:pt x="6224" y="2918"/>
                  </a:lnTo>
                  <a:lnTo>
                    <a:pt x="6267" y="2859"/>
                  </a:lnTo>
                  <a:lnTo>
                    <a:pt x="6302" y="2811"/>
                  </a:lnTo>
                  <a:lnTo>
                    <a:pt x="6327" y="2777"/>
                  </a:lnTo>
                  <a:lnTo>
                    <a:pt x="6340" y="2759"/>
                  </a:lnTo>
                  <a:lnTo>
                    <a:pt x="6360" y="2731"/>
                  </a:lnTo>
                  <a:lnTo>
                    <a:pt x="6380" y="2704"/>
                  </a:lnTo>
                  <a:lnTo>
                    <a:pt x="6401" y="2675"/>
                  </a:lnTo>
                  <a:lnTo>
                    <a:pt x="6422" y="2646"/>
                  </a:lnTo>
                  <a:lnTo>
                    <a:pt x="6443" y="2618"/>
                  </a:lnTo>
                  <a:lnTo>
                    <a:pt x="6464" y="2589"/>
                  </a:lnTo>
                  <a:lnTo>
                    <a:pt x="6485" y="2561"/>
                  </a:lnTo>
                  <a:lnTo>
                    <a:pt x="6506" y="2534"/>
                  </a:lnTo>
                  <a:lnTo>
                    <a:pt x="6540" y="2492"/>
                  </a:lnTo>
                  <a:lnTo>
                    <a:pt x="6574" y="2448"/>
                  </a:lnTo>
                  <a:lnTo>
                    <a:pt x="6608" y="2404"/>
                  </a:lnTo>
                  <a:lnTo>
                    <a:pt x="6642" y="2358"/>
                  </a:lnTo>
                  <a:lnTo>
                    <a:pt x="6676" y="2311"/>
                  </a:lnTo>
                  <a:lnTo>
                    <a:pt x="6709" y="2263"/>
                  </a:lnTo>
                  <a:lnTo>
                    <a:pt x="6724" y="2238"/>
                  </a:lnTo>
                  <a:lnTo>
                    <a:pt x="6739" y="2213"/>
                  </a:lnTo>
                  <a:lnTo>
                    <a:pt x="6754" y="2189"/>
                  </a:lnTo>
                  <a:lnTo>
                    <a:pt x="6768" y="2163"/>
                  </a:lnTo>
                  <a:lnTo>
                    <a:pt x="6781" y="2138"/>
                  </a:lnTo>
                  <a:lnTo>
                    <a:pt x="6793" y="2112"/>
                  </a:lnTo>
                  <a:lnTo>
                    <a:pt x="6806" y="2086"/>
                  </a:lnTo>
                  <a:lnTo>
                    <a:pt x="6817" y="2060"/>
                  </a:lnTo>
                  <a:lnTo>
                    <a:pt x="6826" y="2033"/>
                  </a:lnTo>
                  <a:lnTo>
                    <a:pt x="6835" y="2006"/>
                  </a:lnTo>
                  <a:lnTo>
                    <a:pt x="6843" y="1979"/>
                  </a:lnTo>
                  <a:lnTo>
                    <a:pt x="6851" y="1951"/>
                  </a:lnTo>
                  <a:lnTo>
                    <a:pt x="6857" y="1924"/>
                  </a:lnTo>
                  <a:lnTo>
                    <a:pt x="6861" y="1896"/>
                  </a:lnTo>
                  <a:lnTo>
                    <a:pt x="6864" y="1869"/>
                  </a:lnTo>
                  <a:lnTo>
                    <a:pt x="6866" y="1840"/>
                  </a:lnTo>
                  <a:lnTo>
                    <a:pt x="6866" y="1811"/>
                  </a:lnTo>
                  <a:lnTo>
                    <a:pt x="6865" y="1783"/>
                  </a:lnTo>
                  <a:lnTo>
                    <a:pt x="6863" y="1754"/>
                  </a:lnTo>
                  <a:lnTo>
                    <a:pt x="6859" y="1724"/>
                  </a:lnTo>
                  <a:lnTo>
                    <a:pt x="6854" y="1700"/>
                  </a:lnTo>
                  <a:lnTo>
                    <a:pt x="6847" y="1673"/>
                  </a:lnTo>
                  <a:lnTo>
                    <a:pt x="6837" y="1645"/>
                  </a:lnTo>
                  <a:lnTo>
                    <a:pt x="6826" y="1617"/>
                  </a:lnTo>
                  <a:lnTo>
                    <a:pt x="6814" y="1588"/>
                  </a:lnTo>
                  <a:lnTo>
                    <a:pt x="6800" y="1557"/>
                  </a:lnTo>
                  <a:lnTo>
                    <a:pt x="6784" y="1527"/>
                  </a:lnTo>
                  <a:lnTo>
                    <a:pt x="6767" y="1495"/>
                  </a:lnTo>
                  <a:lnTo>
                    <a:pt x="6748" y="1463"/>
                  </a:lnTo>
                  <a:lnTo>
                    <a:pt x="6730" y="1430"/>
                  </a:lnTo>
                  <a:lnTo>
                    <a:pt x="6710" y="1398"/>
                  </a:lnTo>
                  <a:lnTo>
                    <a:pt x="6688" y="1364"/>
                  </a:lnTo>
                  <a:lnTo>
                    <a:pt x="6643" y="1297"/>
                  </a:lnTo>
                  <a:lnTo>
                    <a:pt x="6596" y="1230"/>
                  </a:lnTo>
                  <a:lnTo>
                    <a:pt x="6547" y="1162"/>
                  </a:lnTo>
                  <a:lnTo>
                    <a:pt x="6498" y="1097"/>
                  </a:lnTo>
                  <a:lnTo>
                    <a:pt x="6450" y="1032"/>
                  </a:lnTo>
                  <a:lnTo>
                    <a:pt x="6402" y="971"/>
                  </a:lnTo>
                  <a:lnTo>
                    <a:pt x="6357" y="913"/>
                  </a:lnTo>
                  <a:lnTo>
                    <a:pt x="6314" y="857"/>
                  </a:lnTo>
                  <a:lnTo>
                    <a:pt x="6275" y="807"/>
                  </a:lnTo>
                  <a:lnTo>
                    <a:pt x="6242" y="762"/>
                  </a:lnTo>
                  <a:lnTo>
                    <a:pt x="6199" y="705"/>
                  </a:lnTo>
                  <a:lnTo>
                    <a:pt x="6155" y="649"/>
                  </a:lnTo>
                  <a:lnTo>
                    <a:pt x="6109" y="592"/>
                  </a:lnTo>
                  <a:lnTo>
                    <a:pt x="6063" y="538"/>
                  </a:lnTo>
                  <a:lnTo>
                    <a:pt x="6039" y="511"/>
                  </a:lnTo>
                  <a:lnTo>
                    <a:pt x="6015" y="485"/>
                  </a:lnTo>
                  <a:lnTo>
                    <a:pt x="5990" y="459"/>
                  </a:lnTo>
                  <a:lnTo>
                    <a:pt x="5966" y="434"/>
                  </a:lnTo>
                  <a:lnTo>
                    <a:pt x="5940" y="408"/>
                  </a:lnTo>
                  <a:lnTo>
                    <a:pt x="5914" y="383"/>
                  </a:lnTo>
                  <a:lnTo>
                    <a:pt x="5888" y="360"/>
                  </a:lnTo>
                  <a:lnTo>
                    <a:pt x="5861" y="336"/>
                  </a:lnTo>
                  <a:lnTo>
                    <a:pt x="5834" y="314"/>
                  </a:lnTo>
                  <a:lnTo>
                    <a:pt x="5807" y="291"/>
                  </a:lnTo>
                  <a:lnTo>
                    <a:pt x="5778" y="270"/>
                  </a:lnTo>
                  <a:lnTo>
                    <a:pt x="5749" y="249"/>
                  </a:lnTo>
                  <a:lnTo>
                    <a:pt x="5720" y="229"/>
                  </a:lnTo>
                  <a:lnTo>
                    <a:pt x="5689" y="211"/>
                  </a:lnTo>
                  <a:lnTo>
                    <a:pt x="5658" y="192"/>
                  </a:lnTo>
                  <a:lnTo>
                    <a:pt x="5628" y="174"/>
                  </a:lnTo>
                  <a:lnTo>
                    <a:pt x="5596" y="157"/>
                  </a:lnTo>
                  <a:lnTo>
                    <a:pt x="5563" y="142"/>
                  </a:lnTo>
                  <a:lnTo>
                    <a:pt x="5530" y="127"/>
                  </a:lnTo>
                  <a:lnTo>
                    <a:pt x="5496" y="113"/>
                  </a:lnTo>
                  <a:lnTo>
                    <a:pt x="5461" y="100"/>
                  </a:lnTo>
                  <a:lnTo>
                    <a:pt x="5427" y="89"/>
                  </a:lnTo>
                  <a:lnTo>
                    <a:pt x="5390" y="78"/>
                  </a:lnTo>
                  <a:lnTo>
                    <a:pt x="5353" y="68"/>
                  </a:lnTo>
                  <a:lnTo>
                    <a:pt x="5315" y="60"/>
                  </a:lnTo>
                  <a:lnTo>
                    <a:pt x="5274" y="52"/>
                  </a:lnTo>
                  <a:lnTo>
                    <a:pt x="5233" y="45"/>
                  </a:lnTo>
                  <a:lnTo>
                    <a:pt x="5191" y="38"/>
                  </a:lnTo>
                  <a:lnTo>
                    <a:pt x="5147" y="32"/>
                  </a:lnTo>
                  <a:lnTo>
                    <a:pt x="5102" y="26"/>
                  </a:lnTo>
                  <a:lnTo>
                    <a:pt x="5055" y="22"/>
                  </a:lnTo>
                  <a:lnTo>
                    <a:pt x="5008" y="18"/>
                  </a:lnTo>
                  <a:lnTo>
                    <a:pt x="4912" y="11"/>
                  </a:lnTo>
                  <a:lnTo>
                    <a:pt x="4813" y="6"/>
                  </a:lnTo>
                  <a:lnTo>
                    <a:pt x="4711" y="3"/>
                  </a:lnTo>
                  <a:lnTo>
                    <a:pt x="4609" y="1"/>
                  </a:lnTo>
                  <a:lnTo>
                    <a:pt x="4506" y="0"/>
                  </a:lnTo>
                  <a:lnTo>
                    <a:pt x="4404" y="1"/>
                  </a:lnTo>
                  <a:lnTo>
                    <a:pt x="4302" y="1"/>
                  </a:lnTo>
                  <a:lnTo>
                    <a:pt x="4203" y="2"/>
                  </a:lnTo>
                  <a:lnTo>
                    <a:pt x="4105" y="4"/>
                  </a:lnTo>
                  <a:lnTo>
                    <a:pt x="4011" y="5"/>
                  </a:lnTo>
                  <a:lnTo>
                    <a:pt x="3921" y="6"/>
                  </a:lnTo>
                  <a:lnTo>
                    <a:pt x="3835" y="6"/>
                  </a:lnTo>
                  <a:lnTo>
                    <a:pt x="676" y="6"/>
                  </a:lnTo>
                  <a:lnTo>
                    <a:pt x="611" y="8"/>
                  </a:lnTo>
                  <a:lnTo>
                    <a:pt x="551" y="11"/>
                  </a:lnTo>
                  <a:lnTo>
                    <a:pt x="493" y="17"/>
                  </a:lnTo>
                  <a:lnTo>
                    <a:pt x="441" y="24"/>
                  </a:lnTo>
                  <a:lnTo>
                    <a:pt x="392" y="34"/>
                  </a:lnTo>
                  <a:lnTo>
                    <a:pt x="347" y="46"/>
                  </a:lnTo>
                  <a:lnTo>
                    <a:pt x="305" y="60"/>
                  </a:lnTo>
                  <a:lnTo>
                    <a:pt x="268" y="75"/>
                  </a:lnTo>
                  <a:lnTo>
                    <a:pt x="233" y="93"/>
                  </a:lnTo>
                  <a:lnTo>
                    <a:pt x="201" y="111"/>
                  </a:lnTo>
                  <a:lnTo>
                    <a:pt x="173" y="133"/>
                  </a:lnTo>
                  <a:lnTo>
                    <a:pt x="147" y="155"/>
                  </a:lnTo>
                  <a:lnTo>
                    <a:pt x="124" y="180"/>
                  </a:lnTo>
                  <a:lnTo>
                    <a:pt x="103" y="205"/>
                  </a:lnTo>
                  <a:lnTo>
                    <a:pt x="85" y="233"/>
                  </a:lnTo>
                  <a:lnTo>
                    <a:pt x="69" y="263"/>
                  </a:lnTo>
                  <a:lnTo>
                    <a:pt x="55" y="293"/>
                  </a:lnTo>
                  <a:lnTo>
                    <a:pt x="43" y="326"/>
                  </a:lnTo>
                  <a:lnTo>
                    <a:pt x="34" y="360"/>
                  </a:lnTo>
                  <a:lnTo>
                    <a:pt x="25" y="395"/>
                  </a:lnTo>
                  <a:lnTo>
                    <a:pt x="18" y="432"/>
                  </a:lnTo>
                  <a:lnTo>
                    <a:pt x="12" y="469"/>
                  </a:lnTo>
                  <a:lnTo>
                    <a:pt x="8" y="508"/>
                  </a:lnTo>
                  <a:lnTo>
                    <a:pt x="5" y="549"/>
                  </a:lnTo>
                  <a:lnTo>
                    <a:pt x="3" y="591"/>
                  </a:lnTo>
                  <a:lnTo>
                    <a:pt x="1" y="634"/>
                  </a:lnTo>
                  <a:lnTo>
                    <a:pt x="0" y="678"/>
                  </a:lnTo>
                  <a:lnTo>
                    <a:pt x="0" y="723"/>
                  </a:lnTo>
                  <a:lnTo>
                    <a:pt x="0" y="817"/>
                  </a:lnTo>
                  <a:lnTo>
                    <a:pt x="0" y="916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5" name="Freeform 12"/>
            <p:cNvSpPr>
              <a:spLocks/>
            </p:cNvSpPr>
            <p:nvPr userDrawn="1"/>
          </p:nvSpPr>
          <p:spPr bwMode="auto">
            <a:xfrm>
              <a:off x="5296" y="3022"/>
              <a:ext cx="143" cy="104"/>
            </a:xfrm>
            <a:custGeom>
              <a:avLst/>
              <a:gdLst/>
              <a:ahLst/>
              <a:cxnLst>
                <a:cxn ang="0">
                  <a:pos x="2992" y="2671"/>
                </a:cxn>
                <a:cxn ang="0">
                  <a:pos x="3075" y="2559"/>
                </a:cxn>
                <a:cxn ang="0">
                  <a:pos x="3160" y="2445"/>
                </a:cxn>
                <a:cxn ang="0">
                  <a:pos x="3245" y="2333"/>
                </a:cxn>
                <a:cxn ang="0">
                  <a:pos x="3329" y="2221"/>
                </a:cxn>
                <a:cxn ang="0">
                  <a:pos x="3414" y="2108"/>
                </a:cxn>
                <a:cxn ang="0">
                  <a:pos x="3498" y="1995"/>
                </a:cxn>
                <a:cxn ang="0">
                  <a:pos x="3583" y="1882"/>
                </a:cxn>
                <a:cxn ang="0">
                  <a:pos x="3669" y="1767"/>
                </a:cxn>
                <a:cxn ang="0">
                  <a:pos x="3754" y="1654"/>
                </a:cxn>
                <a:cxn ang="0">
                  <a:pos x="3839" y="1540"/>
                </a:cxn>
                <a:cxn ang="0">
                  <a:pos x="3924" y="1427"/>
                </a:cxn>
                <a:cxn ang="0">
                  <a:pos x="4009" y="1313"/>
                </a:cxn>
                <a:cxn ang="0">
                  <a:pos x="4094" y="1199"/>
                </a:cxn>
                <a:cxn ang="0">
                  <a:pos x="4180" y="1085"/>
                </a:cxn>
                <a:cxn ang="0">
                  <a:pos x="4265" y="970"/>
                </a:cxn>
                <a:cxn ang="0">
                  <a:pos x="4325" y="891"/>
                </a:cxn>
                <a:cxn ang="0">
                  <a:pos x="4389" y="805"/>
                </a:cxn>
                <a:cxn ang="0">
                  <a:pos x="4484" y="680"/>
                </a:cxn>
                <a:cxn ang="0">
                  <a:pos x="4596" y="530"/>
                </a:cxn>
                <a:cxn ang="0">
                  <a:pos x="4715" y="372"/>
                </a:cxn>
                <a:cxn ang="0">
                  <a:pos x="4824" y="224"/>
                </a:cxn>
                <a:cxn ang="0">
                  <a:pos x="4914" y="101"/>
                </a:cxn>
                <a:cxn ang="0">
                  <a:pos x="4970" y="20"/>
                </a:cxn>
                <a:cxn ang="0">
                  <a:pos x="2737" y="0"/>
                </a:cxn>
                <a:cxn ang="0">
                  <a:pos x="2722" y="11"/>
                </a:cxn>
                <a:cxn ang="0">
                  <a:pos x="2695" y="40"/>
                </a:cxn>
                <a:cxn ang="0">
                  <a:pos x="2615" y="138"/>
                </a:cxn>
                <a:cxn ang="0">
                  <a:pos x="2507" y="276"/>
                </a:cxn>
                <a:cxn ang="0">
                  <a:pos x="2388" y="435"/>
                </a:cxn>
                <a:cxn ang="0">
                  <a:pos x="2268" y="597"/>
                </a:cxn>
                <a:cxn ang="0">
                  <a:pos x="2162" y="740"/>
                </a:cxn>
                <a:cxn ang="0">
                  <a:pos x="2082" y="848"/>
                </a:cxn>
                <a:cxn ang="0">
                  <a:pos x="2043" y="901"/>
                </a:cxn>
                <a:cxn ang="0">
                  <a:pos x="1958" y="1015"/>
                </a:cxn>
                <a:cxn ang="0">
                  <a:pos x="1872" y="1130"/>
                </a:cxn>
                <a:cxn ang="0">
                  <a:pos x="1787" y="1243"/>
                </a:cxn>
                <a:cxn ang="0">
                  <a:pos x="1701" y="1357"/>
                </a:cxn>
                <a:cxn ang="0">
                  <a:pos x="1616" y="1471"/>
                </a:cxn>
                <a:cxn ang="0">
                  <a:pos x="1531" y="1585"/>
                </a:cxn>
                <a:cxn ang="0">
                  <a:pos x="1445" y="1699"/>
                </a:cxn>
                <a:cxn ang="0">
                  <a:pos x="1360" y="1812"/>
                </a:cxn>
                <a:cxn ang="0">
                  <a:pos x="314" y="3209"/>
                </a:cxn>
                <a:cxn ang="0">
                  <a:pos x="271" y="3267"/>
                </a:cxn>
                <a:cxn ang="0">
                  <a:pos x="228" y="3324"/>
                </a:cxn>
                <a:cxn ang="0">
                  <a:pos x="184" y="3382"/>
                </a:cxn>
                <a:cxn ang="0">
                  <a:pos x="145" y="3437"/>
                </a:cxn>
                <a:cxn ang="0">
                  <a:pos x="100" y="3494"/>
                </a:cxn>
                <a:cxn ang="0">
                  <a:pos x="53" y="3555"/>
                </a:cxn>
                <a:cxn ang="0">
                  <a:pos x="22" y="3598"/>
                </a:cxn>
                <a:cxn ang="0">
                  <a:pos x="7" y="3624"/>
                </a:cxn>
                <a:cxn ang="0">
                  <a:pos x="2269" y="3637"/>
                </a:cxn>
              </a:cxnLst>
              <a:rect l="0" t="0" r="r" b="b"/>
              <a:pathLst>
                <a:path w="4982" h="3637">
                  <a:moveTo>
                    <a:pt x="2949" y="2728"/>
                  </a:moveTo>
                  <a:lnTo>
                    <a:pt x="2992" y="2671"/>
                  </a:lnTo>
                  <a:lnTo>
                    <a:pt x="3033" y="2615"/>
                  </a:lnTo>
                  <a:lnTo>
                    <a:pt x="3075" y="2559"/>
                  </a:lnTo>
                  <a:lnTo>
                    <a:pt x="3118" y="2502"/>
                  </a:lnTo>
                  <a:lnTo>
                    <a:pt x="3160" y="2445"/>
                  </a:lnTo>
                  <a:lnTo>
                    <a:pt x="3202" y="2389"/>
                  </a:lnTo>
                  <a:lnTo>
                    <a:pt x="3245" y="2333"/>
                  </a:lnTo>
                  <a:lnTo>
                    <a:pt x="3287" y="2277"/>
                  </a:lnTo>
                  <a:lnTo>
                    <a:pt x="3329" y="2221"/>
                  </a:lnTo>
                  <a:lnTo>
                    <a:pt x="3372" y="2164"/>
                  </a:lnTo>
                  <a:lnTo>
                    <a:pt x="3414" y="2108"/>
                  </a:lnTo>
                  <a:lnTo>
                    <a:pt x="3455" y="2052"/>
                  </a:lnTo>
                  <a:lnTo>
                    <a:pt x="3498" y="1995"/>
                  </a:lnTo>
                  <a:lnTo>
                    <a:pt x="3541" y="1938"/>
                  </a:lnTo>
                  <a:lnTo>
                    <a:pt x="3583" y="1882"/>
                  </a:lnTo>
                  <a:lnTo>
                    <a:pt x="3626" y="1825"/>
                  </a:lnTo>
                  <a:lnTo>
                    <a:pt x="3669" y="1767"/>
                  </a:lnTo>
                  <a:lnTo>
                    <a:pt x="3712" y="1710"/>
                  </a:lnTo>
                  <a:lnTo>
                    <a:pt x="3754" y="1654"/>
                  </a:lnTo>
                  <a:lnTo>
                    <a:pt x="3797" y="1596"/>
                  </a:lnTo>
                  <a:lnTo>
                    <a:pt x="3839" y="1540"/>
                  </a:lnTo>
                  <a:lnTo>
                    <a:pt x="3881" y="1483"/>
                  </a:lnTo>
                  <a:lnTo>
                    <a:pt x="3924" y="1427"/>
                  </a:lnTo>
                  <a:lnTo>
                    <a:pt x="3966" y="1369"/>
                  </a:lnTo>
                  <a:lnTo>
                    <a:pt x="4009" y="1313"/>
                  </a:lnTo>
                  <a:lnTo>
                    <a:pt x="4052" y="1256"/>
                  </a:lnTo>
                  <a:lnTo>
                    <a:pt x="4094" y="1199"/>
                  </a:lnTo>
                  <a:lnTo>
                    <a:pt x="4137" y="1142"/>
                  </a:lnTo>
                  <a:lnTo>
                    <a:pt x="4180" y="1085"/>
                  </a:lnTo>
                  <a:lnTo>
                    <a:pt x="4223" y="1027"/>
                  </a:lnTo>
                  <a:lnTo>
                    <a:pt x="4265" y="970"/>
                  </a:lnTo>
                  <a:lnTo>
                    <a:pt x="4308" y="913"/>
                  </a:lnTo>
                  <a:lnTo>
                    <a:pt x="4325" y="891"/>
                  </a:lnTo>
                  <a:lnTo>
                    <a:pt x="4352" y="854"/>
                  </a:lnTo>
                  <a:lnTo>
                    <a:pt x="4389" y="805"/>
                  </a:lnTo>
                  <a:lnTo>
                    <a:pt x="4434" y="747"/>
                  </a:lnTo>
                  <a:lnTo>
                    <a:pt x="4484" y="680"/>
                  </a:lnTo>
                  <a:lnTo>
                    <a:pt x="4539" y="607"/>
                  </a:lnTo>
                  <a:lnTo>
                    <a:pt x="4596" y="530"/>
                  </a:lnTo>
                  <a:lnTo>
                    <a:pt x="4656" y="451"/>
                  </a:lnTo>
                  <a:lnTo>
                    <a:pt x="4715" y="372"/>
                  </a:lnTo>
                  <a:lnTo>
                    <a:pt x="4771" y="296"/>
                  </a:lnTo>
                  <a:lnTo>
                    <a:pt x="4824" y="224"/>
                  </a:lnTo>
                  <a:lnTo>
                    <a:pt x="4873" y="158"/>
                  </a:lnTo>
                  <a:lnTo>
                    <a:pt x="4914" y="101"/>
                  </a:lnTo>
                  <a:lnTo>
                    <a:pt x="4947" y="54"/>
                  </a:lnTo>
                  <a:lnTo>
                    <a:pt x="4970" y="20"/>
                  </a:lnTo>
                  <a:lnTo>
                    <a:pt x="4982" y="1"/>
                  </a:lnTo>
                  <a:lnTo>
                    <a:pt x="2737" y="0"/>
                  </a:lnTo>
                  <a:lnTo>
                    <a:pt x="2731" y="4"/>
                  </a:lnTo>
                  <a:lnTo>
                    <a:pt x="2722" y="11"/>
                  </a:lnTo>
                  <a:lnTo>
                    <a:pt x="2711" y="23"/>
                  </a:lnTo>
                  <a:lnTo>
                    <a:pt x="2695" y="40"/>
                  </a:lnTo>
                  <a:lnTo>
                    <a:pt x="2660" y="83"/>
                  </a:lnTo>
                  <a:lnTo>
                    <a:pt x="2615" y="138"/>
                  </a:lnTo>
                  <a:lnTo>
                    <a:pt x="2564" y="203"/>
                  </a:lnTo>
                  <a:lnTo>
                    <a:pt x="2507" y="276"/>
                  </a:lnTo>
                  <a:lnTo>
                    <a:pt x="2448" y="354"/>
                  </a:lnTo>
                  <a:lnTo>
                    <a:pt x="2388" y="435"/>
                  </a:lnTo>
                  <a:lnTo>
                    <a:pt x="2327" y="517"/>
                  </a:lnTo>
                  <a:lnTo>
                    <a:pt x="2268" y="597"/>
                  </a:lnTo>
                  <a:lnTo>
                    <a:pt x="2212" y="671"/>
                  </a:lnTo>
                  <a:lnTo>
                    <a:pt x="2162" y="740"/>
                  </a:lnTo>
                  <a:lnTo>
                    <a:pt x="2118" y="800"/>
                  </a:lnTo>
                  <a:lnTo>
                    <a:pt x="2082" y="848"/>
                  </a:lnTo>
                  <a:lnTo>
                    <a:pt x="2057" y="883"/>
                  </a:lnTo>
                  <a:lnTo>
                    <a:pt x="2043" y="901"/>
                  </a:lnTo>
                  <a:lnTo>
                    <a:pt x="2001" y="959"/>
                  </a:lnTo>
                  <a:lnTo>
                    <a:pt x="1958" y="1015"/>
                  </a:lnTo>
                  <a:lnTo>
                    <a:pt x="1915" y="1072"/>
                  </a:lnTo>
                  <a:lnTo>
                    <a:pt x="1872" y="1130"/>
                  </a:lnTo>
                  <a:lnTo>
                    <a:pt x="1829" y="1186"/>
                  </a:lnTo>
                  <a:lnTo>
                    <a:pt x="1787" y="1243"/>
                  </a:lnTo>
                  <a:lnTo>
                    <a:pt x="1744" y="1300"/>
                  </a:lnTo>
                  <a:lnTo>
                    <a:pt x="1701" y="1357"/>
                  </a:lnTo>
                  <a:lnTo>
                    <a:pt x="1658" y="1414"/>
                  </a:lnTo>
                  <a:lnTo>
                    <a:pt x="1616" y="1471"/>
                  </a:lnTo>
                  <a:lnTo>
                    <a:pt x="1573" y="1528"/>
                  </a:lnTo>
                  <a:lnTo>
                    <a:pt x="1531" y="1585"/>
                  </a:lnTo>
                  <a:lnTo>
                    <a:pt x="1488" y="1641"/>
                  </a:lnTo>
                  <a:lnTo>
                    <a:pt x="1445" y="1699"/>
                  </a:lnTo>
                  <a:lnTo>
                    <a:pt x="1402" y="1756"/>
                  </a:lnTo>
                  <a:lnTo>
                    <a:pt x="1360" y="1812"/>
                  </a:lnTo>
                  <a:lnTo>
                    <a:pt x="336" y="3180"/>
                  </a:lnTo>
                  <a:lnTo>
                    <a:pt x="314" y="3209"/>
                  </a:lnTo>
                  <a:lnTo>
                    <a:pt x="293" y="3238"/>
                  </a:lnTo>
                  <a:lnTo>
                    <a:pt x="271" y="3267"/>
                  </a:lnTo>
                  <a:lnTo>
                    <a:pt x="250" y="3295"/>
                  </a:lnTo>
                  <a:lnTo>
                    <a:pt x="228" y="3324"/>
                  </a:lnTo>
                  <a:lnTo>
                    <a:pt x="207" y="3353"/>
                  </a:lnTo>
                  <a:lnTo>
                    <a:pt x="184" y="3382"/>
                  </a:lnTo>
                  <a:lnTo>
                    <a:pt x="163" y="3412"/>
                  </a:lnTo>
                  <a:lnTo>
                    <a:pt x="145" y="3437"/>
                  </a:lnTo>
                  <a:lnTo>
                    <a:pt x="122" y="3463"/>
                  </a:lnTo>
                  <a:lnTo>
                    <a:pt x="100" y="3494"/>
                  </a:lnTo>
                  <a:lnTo>
                    <a:pt x="75" y="3525"/>
                  </a:lnTo>
                  <a:lnTo>
                    <a:pt x="53" y="3555"/>
                  </a:lnTo>
                  <a:lnTo>
                    <a:pt x="31" y="3584"/>
                  </a:lnTo>
                  <a:lnTo>
                    <a:pt x="22" y="3598"/>
                  </a:lnTo>
                  <a:lnTo>
                    <a:pt x="14" y="3612"/>
                  </a:lnTo>
                  <a:lnTo>
                    <a:pt x="7" y="3624"/>
                  </a:lnTo>
                  <a:lnTo>
                    <a:pt x="0" y="3635"/>
                  </a:lnTo>
                  <a:lnTo>
                    <a:pt x="2269" y="3637"/>
                  </a:lnTo>
                  <a:lnTo>
                    <a:pt x="2949" y="2728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0525130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БК 5 феврал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/>
          </a:bodyPr>
          <a:lstStyle>
            <a:lvl1pPr>
              <a:defRPr lang="ru-RU" sz="1800" dirty="0">
                <a:solidFill>
                  <a:schemeClr val="tx2"/>
                </a:solidFill>
              </a:defRPr>
            </a:lvl1pPr>
          </a:lstStyle>
          <a:p>
            <a:pPr marL="0" lvl="0"/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7086600" y="4868863"/>
            <a:ext cx="2057400" cy="274637"/>
          </a:xfrm>
        </p:spPr>
        <p:txBody>
          <a:bodyPr anchor="b"/>
          <a:lstStyle/>
          <a:p>
            <a:fld id="{696B805C-3653-4111-9D74-7F4262724AD8}" type="slidenum">
              <a:rPr lang="ru-RU" smtClean="0">
                <a:solidFill>
                  <a:srgbClr val="E7E6E6">
                    <a:lumMod val="25000"/>
                  </a:srgbClr>
                </a:solidFill>
              </a:rPr>
              <a:pPr/>
              <a:t>‹#›</a:t>
            </a:fld>
            <a:endParaRPr lang="ru-RU">
              <a:solidFill>
                <a:srgbClr val="E7E6E6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980444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467544" y="1203598"/>
            <a:ext cx="8047806" cy="2900412"/>
          </a:xfrm>
        </p:spPr>
        <p:txBody>
          <a:bodyPr>
            <a:normAutofit/>
          </a:bodyPr>
          <a:lstStyle>
            <a:lvl1pPr>
              <a:defRPr sz="480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0" y="699542"/>
            <a:ext cx="8244408" cy="1380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grpSp>
        <p:nvGrpSpPr>
          <p:cNvPr id="2" name="Группа 9"/>
          <p:cNvGrpSpPr/>
          <p:nvPr userDrawn="1"/>
        </p:nvGrpSpPr>
        <p:grpSpPr>
          <a:xfrm>
            <a:off x="0" y="770607"/>
            <a:ext cx="9144000" cy="103833"/>
            <a:chOff x="0" y="4085632"/>
            <a:chExt cx="9144000" cy="103833"/>
          </a:xfrm>
        </p:grpSpPr>
        <p:cxnSp>
          <p:nvCxnSpPr>
            <p:cNvPr id="5" name="Прямая соединительная линия 4"/>
            <p:cNvCxnSpPr/>
            <p:nvPr userDrawn="1"/>
          </p:nvCxnSpPr>
          <p:spPr>
            <a:xfrm>
              <a:off x="0" y="4137548"/>
              <a:ext cx="9144000" cy="0"/>
            </a:xfrm>
            <a:prstGeom prst="line">
              <a:avLst/>
            </a:prstGeom>
            <a:ln w="22225">
              <a:solidFill>
                <a:srgbClr val="ED1B2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" name="Группа 5"/>
            <p:cNvGrpSpPr/>
            <p:nvPr userDrawn="1"/>
          </p:nvGrpSpPr>
          <p:grpSpPr>
            <a:xfrm>
              <a:off x="539552" y="4085632"/>
              <a:ext cx="103833" cy="103833"/>
              <a:chOff x="395536" y="4074729"/>
              <a:chExt cx="125638" cy="125638"/>
            </a:xfrm>
          </p:grpSpPr>
          <p:sp>
            <p:nvSpPr>
              <p:cNvPr id="7" name="Овал 6"/>
              <p:cNvSpPr/>
              <p:nvPr userDrawn="1"/>
            </p:nvSpPr>
            <p:spPr>
              <a:xfrm>
                <a:off x="395536" y="4074729"/>
                <a:ext cx="125638" cy="125638"/>
              </a:xfrm>
              <a:prstGeom prst="ellipse">
                <a:avLst/>
              </a:prstGeom>
              <a:solidFill>
                <a:schemeClr val="bg1"/>
              </a:solidFill>
              <a:ln w="22225">
                <a:solidFill>
                  <a:srgbClr val="ED1B2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8" name="Овал 7"/>
              <p:cNvSpPr/>
              <p:nvPr userDrawn="1"/>
            </p:nvSpPr>
            <p:spPr>
              <a:xfrm>
                <a:off x="440158" y="4119351"/>
                <a:ext cx="36394" cy="36394"/>
              </a:xfrm>
              <a:prstGeom prst="ellipse">
                <a:avLst/>
              </a:prstGeom>
              <a:solidFill>
                <a:schemeClr val="bg1"/>
              </a:solidFill>
              <a:ln w="22225">
                <a:solidFill>
                  <a:srgbClr val="ED1B2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prstClr val="white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3716748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ru-RU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ru-RU" smtClean="0">
                <a:solidFill>
                  <a:prstClr val="black"/>
                </a:solidFill>
                <a:cs typeface="Arial" pitchFamily="34" charset="0"/>
              </a:rPr>
              <a:t>| Координационный Совет начальников железных дорог | 05/10/15</a:t>
            </a:r>
            <a:endParaRPr lang="ru-RU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F9E1AED-F888-4CDA-B4A7-D8280D7C1BB3}" type="slidenum">
              <a:rPr lang="ru-RU" smtClean="0">
                <a:solidFill>
                  <a:srgbClr val="E7E6E6">
                    <a:lumMod val="25000"/>
                  </a:srgb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E7E6E6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34217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44224" y="1354836"/>
            <a:ext cx="8529889" cy="32956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230731" y="258893"/>
            <a:ext cx="8543382" cy="767426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557959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 userDrawn="1"/>
        </p:nvSpPr>
        <p:spPr>
          <a:xfrm>
            <a:off x="0" y="699542"/>
            <a:ext cx="8244408" cy="1380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685783"/>
            <a:endParaRPr lang="ru-RU" sz="1400">
              <a:solidFill>
                <a:prstClr val="white"/>
              </a:solidFill>
            </a:endParaRPr>
          </a:p>
        </p:txBody>
      </p:sp>
      <p:grpSp>
        <p:nvGrpSpPr>
          <p:cNvPr id="2" name="Группа 9"/>
          <p:cNvGrpSpPr/>
          <p:nvPr userDrawn="1"/>
        </p:nvGrpSpPr>
        <p:grpSpPr>
          <a:xfrm>
            <a:off x="0" y="627536"/>
            <a:ext cx="9144000" cy="103833"/>
            <a:chOff x="0" y="4085632"/>
            <a:chExt cx="9144000" cy="103833"/>
          </a:xfrm>
        </p:grpSpPr>
        <p:cxnSp>
          <p:nvCxnSpPr>
            <p:cNvPr id="5" name="Прямая соединительная линия 4"/>
            <p:cNvCxnSpPr/>
            <p:nvPr userDrawn="1"/>
          </p:nvCxnSpPr>
          <p:spPr>
            <a:xfrm>
              <a:off x="0" y="4137548"/>
              <a:ext cx="9144000" cy="0"/>
            </a:xfrm>
            <a:prstGeom prst="line">
              <a:avLst/>
            </a:prstGeom>
            <a:ln w="22225">
              <a:solidFill>
                <a:srgbClr val="ED1B2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" name="Группа 5"/>
            <p:cNvGrpSpPr/>
            <p:nvPr userDrawn="1"/>
          </p:nvGrpSpPr>
          <p:grpSpPr>
            <a:xfrm>
              <a:off x="539552" y="4085632"/>
              <a:ext cx="103833" cy="103833"/>
              <a:chOff x="395536" y="4074729"/>
              <a:chExt cx="125638" cy="125638"/>
            </a:xfrm>
          </p:grpSpPr>
          <p:sp>
            <p:nvSpPr>
              <p:cNvPr id="7" name="Овал 6"/>
              <p:cNvSpPr/>
              <p:nvPr userDrawn="1"/>
            </p:nvSpPr>
            <p:spPr>
              <a:xfrm>
                <a:off x="395536" y="4074729"/>
                <a:ext cx="125638" cy="125638"/>
              </a:xfrm>
              <a:prstGeom prst="ellipse">
                <a:avLst/>
              </a:prstGeom>
              <a:solidFill>
                <a:schemeClr val="bg1"/>
              </a:solidFill>
              <a:ln w="22225">
                <a:solidFill>
                  <a:srgbClr val="ED1B2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783"/>
                <a:endParaRPr lang="ru-RU" sz="1400">
                  <a:solidFill>
                    <a:prstClr val="white"/>
                  </a:solidFill>
                </a:endParaRPr>
              </a:p>
            </p:txBody>
          </p:sp>
          <p:sp>
            <p:nvSpPr>
              <p:cNvPr id="8" name="Овал 7"/>
              <p:cNvSpPr/>
              <p:nvPr userDrawn="1"/>
            </p:nvSpPr>
            <p:spPr>
              <a:xfrm>
                <a:off x="440158" y="4119351"/>
                <a:ext cx="36394" cy="36394"/>
              </a:xfrm>
              <a:prstGeom prst="ellipse">
                <a:avLst/>
              </a:prstGeom>
              <a:solidFill>
                <a:schemeClr val="bg1"/>
              </a:solidFill>
              <a:ln w="22225">
                <a:solidFill>
                  <a:srgbClr val="ED1B2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783"/>
                <a:endParaRPr lang="ru-RU" sz="140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13" name="Заголовок 2"/>
          <p:cNvSpPr txBox="1">
            <a:spLocks/>
          </p:cNvSpPr>
          <p:nvPr userDrawn="1"/>
        </p:nvSpPr>
        <p:spPr>
          <a:xfrm>
            <a:off x="251520" y="195488"/>
            <a:ext cx="7939794" cy="494343"/>
          </a:xfrm>
          <a:prstGeom prst="rect">
            <a:avLst/>
          </a:prstGeom>
        </p:spPr>
        <p:txBody>
          <a:bodyPr vert="horz" lIns="91436" tIns="45718" rIns="91436" bIns="45718" rtlCol="0" anchor="ctr">
            <a:noAutofit/>
          </a:bodyPr>
          <a:lstStyle/>
          <a:p>
            <a:pPr defTabSz="914355">
              <a:lnSpc>
                <a:spcPct val="90000"/>
              </a:lnSpc>
              <a:defRPr/>
            </a:pPr>
            <a:endParaRPr lang="ru-RU" sz="2400" b="1" dirty="0" smtClean="0">
              <a:solidFill>
                <a:srgbClr val="1F497D"/>
              </a:solidFill>
              <a:cs typeface="Arial" pitchFamily="34" charset="0"/>
            </a:endParaRPr>
          </a:p>
        </p:txBody>
      </p:sp>
      <p:sp>
        <p:nvSpPr>
          <p:cNvPr id="12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7092280" y="-20538"/>
            <a:ext cx="2057400" cy="274637"/>
          </a:xfrm>
        </p:spPr>
        <p:txBody>
          <a:bodyPr/>
          <a:lstStyle/>
          <a:p>
            <a:fld id="{696B805C-3653-4111-9D74-7F4262724AD8}" type="slidenum">
              <a:rPr lang="ru-RU" smtClean="0">
                <a:solidFill>
                  <a:srgbClr val="E7E6E6">
                    <a:lumMod val="25000"/>
                  </a:srgbClr>
                </a:solidFill>
              </a:rPr>
              <a:pPr/>
              <a:t>‹#›</a:t>
            </a:fld>
            <a:endParaRPr lang="ru-RU">
              <a:solidFill>
                <a:srgbClr val="E7E6E6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75138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66688"/>
            <a:ext cx="8229600" cy="820737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244224" y="1354836"/>
            <a:ext cx="7094790" cy="32956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2"/>
          </p:nvPr>
        </p:nvSpPr>
        <p:spPr>
          <a:xfrm>
            <a:off x="7457655" y="1383619"/>
            <a:ext cx="1316459" cy="326685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>
                <a:solidFill>
                  <a:schemeClr val="accent6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14549909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195486"/>
            <a:ext cx="8568952" cy="820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244227" y="1354836"/>
            <a:ext cx="8529889" cy="32956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13909474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AutoShape 3"/>
          <p:cNvSpPr>
            <a:spLocks noChangeAspect="1" noChangeArrowheads="1" noTextEdit="1"/>
          </p:cNvSpPr>
          <p:nvPr userDrawn="1"/>
        </p:nvSpPr>
        <p:spPr bwMode="auto">
          <a:xfrm>
            <a:off x="0" y="0"/>
            <a:ext cx="9144000" cy="661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0" name="Freeform 5"/>
          <p:cNvSpPr>
            <a:spLocks/>
          </p:cNvSpPr>
          <p:nvPr userDrawn="1"/>
        </p:nvSpPr>
        <p:spPr bwMode="auto">
          <a:xfrm>
            <a:off x="0" y="15478"/>
            <a:ext cx="9144000" cy="646510"/>
          </a:xfrm>
          <a:custGeom>
            <a:avLst/>
            <a:gdLst>
              <a:gd name="T0" fmla="*/ 0 w 23040"/>
              <a:gd name="T1" fmla="*/ 1625 h 1629"/>
              <a:gd name="T2" fmla="*/ 15620 w 23040"/>
              <a:gd name="T3" fmla="*/ 1629 h 1629"/>
              <a:gd name="T4" fmla="*/ 16478 w 23040"/>
              <a:gd name="T5" fmla="*/ 1629 h 1629"/>
              <a:gd name="T6" fmla="*/ 16534 w 23040"/>
              <a:gd name="T7" fmla="*/ 1629 h 1629"/>
              <a:gd name="T8" fmla="*/ 16584 w 23040"/>
              <a:gd name="T9" fmla="*/ 1628 h 1629"/>
              <a:gd name="T10" fmla="*/ 16632 w 23040"/>
              <a:gd name="T11" fmla="*/ 1625 h 1629"/>
              <a:gd name="T12" fmla="*/ 16675 w 23040"/>
              <a:gd name="T13" fmla="*/ 1619 h 1629"/>
              <a:gd name="T14" fmla="*/ 16697 w 23040"/>
              <a:gd name="T15" fmla="*/ 1615 h 1629"/>
              <a:gd name="T16" fmla="*/ 16717 w 23040"/>
              <a:gd name="T17" fmla="*/ 1612 h 1629"/>
              <a:gd name="T18" fmla="*/ 16737 w 23040"/>
              <a:gd name="T19" fmla="*/ 1607 h 1629"/>
              <a:gd name="T20" fmla="*/ 16757 w 23040"/>
              <a:gd name="T21" fmla="*/ 1603 h 1629"/>
              <a:gd name="T22" fmla="*/ 16776 w 23040"/>
              <a:gd name="T23" fmla="*/ 1596 h 1629"/>
              <a:gd name="T24" fmla="*/ 16795 w 23040"/>
              <a:gd name="T25" fmla="*/ 1590 h 1629"/>
              <a:gd name="T26" fmla="*/ 16813 w 23040"/>
              <a:gd name="T27" fmla="*/ 1583 h 1629"/>
              <a:gd name="T28" fmla="*/ 16831 w 23040"/>
              <a:gd name="T29" fmla="*/ 1574 h 1629"/>
              <a:gd name="T30" fmla="*/ 16849 w 23040"/>
              <a:gd name="T31" fmla="*/ 1566 h 1629"/>
              <a:gd name="T32" fmla="*/ 16867 w 23040"/>
              <a:gd name="T33" fmla="*/ 1557 h 1629"/>
              <a:gd name="T34" fmla="*/ 16885 w 23040"/>
              <a:gd name="T35" fmla="*/ 1547 h 1629"/>
              <a:gd name="T36" fmla="*/ 16903 w 23040"/>
              <a:gd name="T37" fmla="*/ 1535 h 1629"/>
              <a:gd name="T38" fmla="*/ 16920 w 23040"/>
              <a:gd name="T39" fmla="*/ 1524 h 1629"/>
              <a:gd name="T40" fmla="*/ 16939 w 23040"/>
              <a:gd name="T41" fmla="*/ 1511 h 1629"/>
              <a:gd name="T42" fmla="*/ 16956 w 23040"/>
              <a:gd name="T43" fmla="*/ 1496 h 1629"/>
              <a:gd name="T44" fmla="*/ 16975 w 23040"/>
              <a:gd name="T45" fmla="*/ 1482 h 1629"/>
              <a:gd name="T46" fmla="*/ 17012 w 23040"/>
              <a:gd name="T47" fmla="*/ 1448 h 1629"/>
              <a:gd name="T48" fmla="*/ 17050 w 23040"/>
              <a:gd name="T49" fmla="*/ 1410 h 1629"/>
              <a:gd name="T50" fmla="*/ 17091 w 23040"/>
              <a:gd name="T51" fmla="*/ 1368 h 1629"/>
              <a:gd name="T52" fmla="*/ 17135 w 23040"/>
              <a:gd name="T53" fmla="*/ 1321 h 1629"/>
              <a:gd name="T54" fmla="*/ 17885 w 23040"/>
              <a:gd name="T55" fmla="*/ 472 h 1629"/>
              <a:gd name="T56" fmla="*/ 17925 w 23040"/>
              <a:gd name="T57" fmla="*/ 428 h 1629"/>
              <a:gd name="T58" fmla="*/ 17965 w 23040"/>
              <a:gd name="T59" fmla="*/ 387 h 1629"/>
              <a:gd name="T60" fmla="*/ 18004 w 23040"/>
              <a:gd name="T61" fmla="*/ 351 h 1629"/>
              <a:gd name="T62" fmla="*/ 18043 w 23040"/>
              <a:gd name="T63" fmla="*/ 317 h 1629"/>
              <a:gd name="T64" fmla="*/ 18063 w 23040"/>
              <a:gd name="T65" fmla="*/ 302 h 1629"/>
              <a:gd name="T66" fmla="*/ 18084 w 23040"/>
              <a:gd name="T67" fmla="*/ 288 h 1629"/>
              <a:gd name="T68" fmla="*/ 18102 w 23040"/>
              <a:gd name="T69" fmla="*/ 274 h 1629"/>
              <a:gd name="T70" fmla="*/ 18122 w 23040"/>
              <a:gd name="T71" fmla="*/ 262 h 1629"/>
              <a:gd name="T72" fmla="*/ 18143 w 23040"/>
              <a:gd name="T73" fmla="*/ 249 h 1629"/>
              <a:gd name="T74" fmla="*/ 18163 w 23040"/>
              <a:gd name="T75" fmla="*/ 238 h 1629"/>
              <a:gd name="T76" fmla="*/ 18183 w 23040"/>
              <a:gd name="T77" fmla="*/ 227 h 1629"/>
              <a:gd name="T78" fmla="*/ 18203 w 23040"/>
              <a:gd name="T79" fmla="*/ 217 h 1629"/>
              <a:gd name="T80" fmla="*/ 18225 w 23040"/>
              <a:gd name="T81" fmla="*/ 209 h 1629"/>
              <a:gd name="T82" fmla="*/ 18245 w 23040"/>
              <a:gd name="T83" fmla="*/ 200 h 1629"/>
              <a:gd name="T84" fmla="*/ 18266 w 23040"/>
              <a:gd name="T85" fmla="*/ 193 h 1629"/>
              <a:gd name="T86" fmla="*/ 18288 w 23040"/>
              <a:gd name="T87" fmla="*/ 184 h 1629"/>
              <a:gd name="T88" fmla="*/ 18311 w 23040"/>
              <a:gd name="T89" fmla="*/ 179 h 1629"/>
              <a:gd name="T90" fmla="*/ 18333 w 23040"/>
              <a:gd name="T91" fmla="*/ 173 h 1629"/>
              <a:gd name="T92" fmla="*/ 18356 w 23040"/>
              <a:gd name="T93" fmla="*/ 167 h 1629"/>
              <a:gd name="T94" fmla="*/ 18379 w 23040"/>
              <a:gd name="T95" fmla="*/ 163 h 1629"/>
              <a:gd name="T96" fmla="*/ 18426 w 23040"/>
              <a:gd name="T97" fmla="*/ 155 h 1629"/>
              <a:gd name="T98" fmla="*/ 18477 w 23040"/>
              <a:gd name="T99" fmla="*/ 151 h 1629"/>
              <a:gd name="T100" fmla="*/ 18528 w 23040"/>
              <a:gd name="T101" fmla="*/ 147 h 1629"/>
              <a:gd name="T102" fmla="*/ 18583 w 23040"/>
              <a:gd name="T103" fmla="*/ 145 h 1629"/>
              <a:gd name="T104" fmla="*/ 23040 w 23040"/>
              <a:gd name="T105" fmla="*/ 145 h 1629"/>
              <a:gd name="T106" fmla="*/ 23040 w 23040"/>
              <a:gd name="T107" fmla="*/ 0 h 1629"/>
              <a:gd name="T108" fmla="*/ 18585 w 23040"/>
              <a:gd name="T109" fmla="*/ 0 h 1629"/>
              <a:gd name="T110" fmla="*/ 0 w 23040"/>
              <a:gd name="T111" fmla="*/ 0 h 1629"/>
              <a:gd name="T112" fmla="*/ 0 w 23040"/>
              <a:gd name="T113" fmla="*/ 1625 h 16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3040" h="1629">
                <a:moveTo>
                  <a:pt x="0" y="1625"/>
                </a:moveTo>
                <a:lnTo>
                  <a:pt x="15620" y="1629"/>
                </a:lnTo>
                <a:lnTo>
                  <a:pt x="16478" y="1629"/>
                </a:lnTo>
                <a:lnTo>
                  <a:pt x="16534" y="1629"/>
                </a:lnTo>
                <a:lnTo>
                  <a:pt x="16584" y="1628"/>
                </a:lnTo>
                <a:lnTo>
                  <a:pt x="16632" y="1625"/>
                </a:lnTo>
                <a:lnTo>
                  <a:pt x="16675" y="1619"/>
                </a:lnTo>
                <a:lnTo>
                  <a:pt x="16697" y="1615"/>
                </a:lnTo>
                <a:lnTo>
                  <a:pt x="16717" y="1612"/>
                </a:lnTo>
                <a:lnTo>
                  <a:pt x="16737" y="1607"/>
                </a:lnTo>
                <a:lnTo>
                  <a:pt x="16757" y="1603"/>
                </a:lnTo>
                <a:lnTo>
                  <a:pt x="16776" y="1596"/>
                </a:lnTo>
                <a:lnTo>
                  <a:pt x="16795" y="1590"/>
                </a:lnTo>
                <a:lnTo>
                  <a:pt x="16813" y="1583"/>
                </a:lnTo>
                <a:lnTo>
                  <a:pt x="16831" y="1574"/>
                </a:lnTo>
                <a:lnTo>
                  <a:pt x="16849" y="1566"/>
                </a:lnTo>
                <a:lnTo>
                  <a:pt x="16867" y="1557"/>
                </a:lnTo>
                <a:lnTo>
                  <a:pt x="16885" y="1547"/>
                </a:lnTo>
                <a:lnTo>
                  <a:pt x="16903" y="1535"/>
                </a:lnTo>
                <a:lnTo>
                  <a:pt x="16920" y="1524"/>
                </a:lnTo>
                <a:lnTo>
                  <a:pt x="16939" y="1511"/>
                </a:lnTo>
                <a:lnTo>
                  <a:pt x="16956" y="1496"/>
                </a:lnTo>
                <a:lnTo>
                  <a:pt x="16975" y="1482"/>
                </a:lnTo>
                <a:lnTo>
                  <a:pt x="17012" y="1448"/>
                </a:lnTo>
                <a:lnTo>
                  <a:pt x="17050" y="1410"/>
                </a:lnTo>
                <a:lnTo>
                  <a:pt x="17091" y="1368"/>
                </a:lnTo>
                <a:lnTo>
                  <a:pt x="17135" y="1321"/>
                </a:lnTo>
                <a:lnTo>
                  <a:pt x="17885" y="472"/>
                </a:lnTo>
                <a:lnTo>
                  <a:pt x="17925" y="428"/>
                </a:lnTo>
                <a:lnTo>
                  <a:pt x="17965" y="387"/>
                </a:lnTo>
                <a:lnTo>
                  <a:pt x="18004" y="351"/>
                </a:lnTo>
                <a:lnTo>
                  <a:pt x="18043" y="317"/>
                </a:lnTo>
                <a:lnTo>
                  <a:pt x="18063" y="302"/>
                </a:lnTo>
                <a:lnTo>
                  <a:pt x="18084" y="288"/>
                </a:lnTo>
                <a:lnTo>
                  <a:pt x="18102" y="274"/>
                </a:lnTo>
                <a:lnTo>
                  <a:pt x="18122" y="262"/>
                </a:lnTo>
                <a:lnTo>
                  <a:pt x="18143" y="249"/>
                </a:lnTo>
                <a:lnTo>
                  <a:pt x="18163" y="238"/>
                </a:lnTo>
                <a:lnTo>
                  <a:pt x="18183" y="227"/>
                </a:lnTo>
                <a:lnTo>
                  <a:pt x="18203" y="217"/>
                </a:lnTo>
                <a:lnTo>
                  <a:pt x="18225" y="209"/>
                </a:lnTo>
                <a:lnTo>
                  <a:pt x="18245" y="200"/>
                </a:lnTo>
                <a:lnTo>
                  <a:pt x="18266" y="193"/>
                </a:lnTo>
                <a:lnTo>
                  <a:pt x="18288" y="184"/>
                </a:lnTo>
                <a:lnTo>
                  <a:pt x="18311" y="179"/>
                </a:lnTo>
                <a:lnTo>
                  <a:pt x="18333" y="173"/>
                </a:lnTo>
                <a:lnTo>
                  <a:pt x="18356" y="167"/>
                </a:lnTo>
                <a:lnTo>
                  <a:pt x="18379" y="163"/>
                </a:lnTo>
                <a:lnTo>
                  <a:pt x="18426" y="155"/>
                </a:lnTo>
                <a:lnTo>
                  <a:pt x="18477" y="151"/>
                </a:lnTo>
                <a:lnTo>
                  <a:pt x="18528" y="147"/>
                </a:lnTo>
                <a:lnTo>
                  <a:pt x="18583" y="145"/>
                </a:lnTo>
                <a:lnTo>
                  <a:pt x="23040" y="145"/>
                </a:lnTo>
                <a:lnTo>
                  <a:pt x="23040" y="0"/>
                </a:lnTo>
                <a:lnTo>
                  <a:pt x="18585" y="0"/>
                </a:lnTo>
                <a:lnTo>
                  <a:pt x="0" y="0"/>
                </a:lnTo>
                <a:lnTo>
                  <a:pt x="0" y="1625"/>
                </a:lnTo>
                <a:close/>
              </a:path>
            </a:pathLst>
          </a:custGeom>
          <a:solidFill>
            <a:srgbClr val="E21A1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1" name="Freeform 6"/>
          <p:cNvSpPr>
            <a:spLocks/>
          </p:cNvSpPr>
          <p:nvPr userDrawn="1"/>
        </p:nvSpPr>
        <p:spPr bwMode="auto">
          <a:xfrm>
            <a:off x="0" y="0"/>
            <a:ext cx="9144000" cy="646510"/>
          </a:xfrm>
          <a:custGeom>
            <a:avLst/>
            <a:gdLst>
              <a:gd name="T0" fmla="*/ 0 w 23040"/>
              <a:gd name="T1" fmla="*/ 1626 h 1629"/>
              <a:gd name="T2" fmla="*/ 15620 w 23040"/>
              <a:gd name="T3" fmla="*/ 1629 h 1629"/>
              <a:gd name="T4" fmla="*/ 16478 w 23040"/>
              <a:gd name="T5" fmla="*/ 1629 h 1629"/>
              <a:gd name="T6" fmla="*/ 16534 w 23040"/>
              <a:gd name="T7" fmla="*/ 1629 h 1629"/>
              <a:gd name="T8" fmla="*/ 16584 w 23040"/>
              <a:gd name="T9" fmla="*/ 1628 h 1629"/>
              <a:gd name="T10" fmla="*/ 16632 w 23040"/>
              <a:gd name="T11" fmla="*/ 1625 h 1629"/>
              <a:gd name="T12" fmla="*/ 16675 w 23040"/>
              <a:gd name="T13" fmla="*/ 1619 h 1629"/>
              <a:gd name="T14" fmla="*/ 16697 w 23040"/>
              <a:gd name="T15" fmla="*/ 1616 h 1629"/>
              <a:gd name="T16" fmla="*/ 16717 w 23040"/>
              <a:gd name="T17" fmla="*/ 1612 h 1629"/>
              <a:gd name="T18" fmla="*/ 16737 w 23040"/>
              <a:gd name="T19" fmla="*/ 1608 h 1629"/>
              <a:gd name="T20" fmla="*/ 16757 w 23040"/>
              <a:gd name="T21" fmla="*/ 1603 h 1629"/>
              <a:gd name="T22" fmla="*/ 16776 w 23040"/>
              <a:gd name="T23" fmla="*/ 1596 h 1629"/>
              <a:gd name="T24" fmla="*/ 16795 w 23040"/>
              <a:gd name="T25" fmla="*/ 1590 h 1629"/>
              <a:gd name="T26" fmla="*/ 16813 w 23040"/>
              <a:gd name="T27" fmla="*/ 1583 h 1629"/>
              <a:gd name="T28" fmla="*/ 16831 w 23040"/>
              <a:gd name="T29" fmla="*/ 1576 h 1629"/>
              <a:gd name="T30" fmla="*/ 16849 w 23040"/>
              <a:gd name="T31" fmla="*/ 1566 h 1629"/>
              <a:gd name="T32" fmla="*/ 16867 w 23040"/>
              <a:gd name="T33" fmla="*/ 1557 h 1629"/>
              <a:gd name="T34" fmla="*/ 16885 w 23040"/>
              <a:gd name="T35" fmla="*/ 1547 h 1629"/>
              <a:gd name="T36" fmla="*/ 16903 w 23040"/>
              <a:gd name="T37" fmla="*/ 1535 h 1629"/>
              <a:gd name="T38" fmla="*/ 16920 w 23040"/>
              <a:gd name="T39" fmla="*/ 1524 h 1629"/>
              <a:gd name="T40" fmla="*/ 16939 w 23040"/>
              <a:gd name="T41" fmla="*/ 1511 h 1629"/>
              <a:gd name="T42" fmla="*/ 16956 w 23040"/>
              <a:gd name="T43" fmla="*/ 1497 h 1629"/>
              <a:gd name="T44" fmla="*/ 16975 w 23040"/>
              <a:gd name="T45" fmla="*/ 1482 h 1629"/>
              <a:gd name="T46" fmla="*/ 17012 w 23040"/>
              <a:gd name="T47" fmla="*/ 1448 h 1629"/>
              <a:gd name="T48" fmla="*/ 17050 w 23040"/>
              <a:gd name="T49" fmla="*/ 1410 h 1629"/>
              <a:gd name="T50" fmla="*/ 17091 w 23040"/>
              <a:gd name="T51" fmla="*/ 1368 h 1629"/>
              <a:gd name="T52" fmla="*/ 17135 w 23040"/>
              <a:gd name="T53" fmla="*/ 1321 h 1629"/>
              <a:gd name="T54" fmla="*/ 17885 w 23040"/>
              <a:gd name="T55" fmla="*/ 472 h 1629"/>
              <a:gd name="T56" fmla="*/ 17925 w 23040"/>
              <a:gd name="T57" fmla="*/ 428 h 1629"/>
              <a:gd name="T58" fmla="*/ 17965 w 23040"/>
              <a:gd name="T59" fmla="*/ 387 h 1629"/>
              <a:gd name="T60" fmla="*/ 18004 w 23040"/>
              <a:gd name="T61" fmla="*/ 351 h 1629"/>
              <a:gd name="T62" fmla="*/ 18043 w 23040"/>
              <a:gd name="T63" fmla="*/ 317 h 1629"/>
              <a:gd name="T64" fmla="*/ 18063 w 23040"/>
              <a:gd name="T65" fmla="*/ 302 h 1629"/>
              <a:gd name="T66" fmla="*/ 18084 w 23040"/>
              <a:gd name="T67" fmla="*/ 288 h 1629"/>
              <a:gd name="T68" fmla="*/ 18102 w 23040"/>
              <a:gd name="T69" fmla="*/ 275 h 1629"/>
              <a:gd name="T70" fmla="*/ 18122 w 23040"/>
              <a:gd name="T71" fmla="*/ 262 h 1629"/>
              <a:gd name="T72" fmla="*/ 18143 w 23040"/>
              <a:gd name="T73" fmla="*/ 249 h 1629"/>
              <a:gd name="T74" fmla="*/ 18163 w 23040"/>
              <a:gd name="T75" fmla="*/ 238 h 1629"/>
              <a:gd name="T76" fmla="*/ 18183 w 23040"/>
              <a:gd name="T77" fmla="*/ 228 h 1629"/>
              <a:gd name="T78" fmla="*/ 18203 w 23040"/>
              <a:gd name="T79" fmla="*/ 218 h 1629"/>
              <a:gd name="T80" fmla="*/ 18225 w 23040"/>
              <a:gd name="T81" fmla="*/ 209 h 1629"/>
              <a:gd name="T82" fmla="*/ 18245 w 23040"/>
              <a:gd name="T83" fmla="*/ 200 h 1629"/>
              <a:gd name="T84" fmla="*/ 18266 w 23040"/>
              <a:gd name="T85" fmla="*/ 193 h 1629"/>
              <a:gd name="T86" fmla="*/ 18288 w 23040"/>
              <a:gd name="T87" fmla="*/ 186 h 1629"/>
              <a:gd name="T88" fmla="*/ 18311 w 23040"/>
              <a:gd name="T89" fmla="*/ 179 h 1629"/>
              <a:gd name="T90" fmla="*/ 18333 w 23040"/>
              <a:gd name="T91" fmla="*/ 174 h 1629"/>
              <a:gd name="T92" fmla="*/ 18356 w 23040"/>
              <a:gd name="T93" fmla="*/ 167 h 1629"/>
              <a:gd name="T94" fmla="*/ 18379 w 23040"/>
              <a:gd name="T95" fmla="*/ 164 h 1629"/>
              <a:gd name="T96" fmla="*/ 18426 w 23040"/>
              <a:gd name="T97" fmla="*/ 156 h 1629"/>
              <a:gd name="T98" fmla="*/ 18477 w 23040"/>
              <a:gd name="T99" fmla="*/ 151 h 1629"/>
              <a:gd name="T100" fmla="*/ 18528 w 23040"/>
              <a:gd name="T101" fmla="*/ 147 h 1629"/>
              <a:gd name="T102" fmla="*/ 18583 w 23040"/>
              <a:gd name="T103" fmla="*/ 145 h 1629"/>
              <a:gd name="T104" fmla="*/ 23040 w 23040"/>
              <a:gd name="T105" fmla="*/ 145 h 1629"/>
              <a:gd name="T106" fmla="*/ 23040 w 23040"/>
              <a:gd name="T107" fmla="*/ 0 h 1629"/>
              <a:gd name="T108" fmla="*/ 18585 w 23040"/>
              <a:gd name="T109" fmla="*/ 0 h 1629"/>
              <a:gd name="T110" fmla="*/ 0 w 23040"/>
              <a:gd name="T111" fmla="*/ 0 h 1629"/>
              <a:gd name="T112" fmla="*/ 0 w 23040"/>
              <a:gd name="T113" fmla="*/ 1626 h 16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3040" h="1629">
                <a:moveTo>
                  <a:pt x="0" y="1626"/>
                </a:moveTo>
                <a:lnTo>
                  <a:pt x="15620" y="1629"/>
                </a:lnTo>
                <a:lnTo>
                  <a:pt x="16478" y="1629"/>
                </a:lnTo>
                <a:lnTo>
                  <a:pt x="16534" y="1629"/>
                </a:lnTo>
                <a:lnTo>
                  <a:pt x="16584" y="1628"/>
                </a:lnTo>
                <a:lnTo>
                  <a:pt x="16632" y="1625"/>
                </a:lnTo>
                <a:lnTo>
                  <a:pt x="16675" y="1619"/>
                </a:lnTo>
                <a:lnTo>
                  <a:pt x="16697" y="1616"/>
                </a:lnTo>
                <a:lnTo>
                  <a:pt x="16717" y="1612"/>
                </a:lnTo>
                <a:lnTo>
                  <a:pt x="16737" y="1608"/>
                </a:lnTo>
                <a:lnTo>
                  <a:pt x="16757" y="1603"/>
                </a:lnTo>
                <a:lnTo>
                  <a:pt x="16776" y="1596"/>
                </a:lnTo>
                <a:lnTo>
                  <a:pt x="16795" y="1590"/>
                </a:lnTo>
                <a:lnTo>
                  <a:pt x="16813" y="1583"/>
                </a:lnTo>
                <a:lnTo>
                  <a:pt x="16831" y="1576"/>
                </a:lnTo>
                <a:lnTo>
                  <a:pt x="16849" y="1566"/>
                </a:lnTo>
                <a:lnTo>
                  <a:pt x="16867" y="1557"/>
                </a:lnTo>
                <a:lnTo>
                  <a:pt x="16885" y="1547"/>
                </a:lnTo>
                <a:lnTo>
                  <a:pt x="16903" y="1535"/>
                </a:lnTo>
                <a:lnTo>
                  <a:pt x="16920" y="1524"/>
                </a:lnTo>
                <a:lnTo>
                  <a:pt x="16939" y="1511"/>
                </a:lnTo>
                <a:lnTo>
                  <a:pt x="16956" y="1497"/>
                </a:lnTo>
                <a:lnTo>
                  <a:pt x="16975" y="1482"/>
                </a:lnTo>
                <a:lnTo>
                  <a:pt x="17012" y="1448"/>
                </a:lnTo>
                <a:lnTo>
                  <a:pt x="17050" y="1410"/>
                </a:lnTo>
                <a:lnTo>
                  <a:pt x="17091" y="1368"/>
                </a:lnTo>
                <a:lnTo>
                  <a:pt x="17135" y="1321"/>
                </a:lnTo>
                <a:lnTo>
                  <a:pt x="17885" y="472"/>
                </a:lnTo>
                <a:lnTo>
                  <a:pt x="17925" y="428"/>
                </a:lnTo>
                <a:lnTo>
                  <a:pt x="17965" y="387"/>
                </a:lnTo>
                <a:lnTo>
                  <a:pt x="18004" y="351"/>
                </a:lnTo>
                <a:lnTo>
                  <a:pt x="18043" y="317"/>
                </a:lnTo>
                <a:lnTo>
                  <a:pt x="18063" y="302"/>
                </a:lnTo>
                <a:lnTo>
                  <a:pt x="18084" y="288"/>
                </a:lnTo>
                <a:lnTo>
                  <a:pt x="18102" y="275"/>
                </a:lnTo>
                <a:lnTo>
                  <a:pt x="18122" y="262"/>
                </a:lnTo>
                <a:lnTo>
                  <a:pt x="18143" y="249"/>
                </a:lnTo>
                <a:lnTo>
                  <a:pt x="18163" y="238"/>
                </a:lnTo>
                <a:lnTo>
                  <a:pt x="18183" y="228"/>
                </a:lnTo>
                <a:lnTo>
                  <a:pt x="18203" y="218"/>
                </a:lnTo>
                <a:lnTo>
                  <a:pt x="18225" y="209"/>
                </a:lnTo>
                <a:lnTo>
                  <a:pt x="18245" y="200"/>
                </a:lnTo>
                <a:lnTo>
                  <a:pt x="18266" y="193"/>
                </a:lnTo>
                <a:lnTo>
                  <a:pt x="18288" y="186"/>
                </a:lnTo>
                <a:lnTo>
                  <a:pt x="18311" y="179"/>
                </a:lnTo>
                <a:lnTo>
                  <a:pt x="18333" y="174"/>
                </a:lnTo>
                <a:lnTo>
                  <a:pt x="18356" y="167"/>
                </a:lnTo>
                <a:lnTo>
                  <a:pt x="18379" y="164"/>
                </a:lnTo>
                <a:lnTo>
                  <a:pt x="18426" y="156"/>
                </a:lnTo>
                <a:lnTo>
                  <a:pt x="18477" y="151"/>
                </a:lnTo>
                <a:lnTo>
                  <a:pt x="18528" y="147"/>
                </a:lnTo>
                <a:lnTo>
                  <a:pt x="18583" y="145"/>
                </a:lnTo>
                <a:lnTo>
                  <a:pt x="23040" y="145"/>
                </a:lnTo>
                <a:lnTo>
                  <a:pt x="23040" y="0"/>
                </a:lnTo>
                <a:lnTo>
                  <a:pt x="18585" y="0"/>
                </a:lnTo>
                <a:lnTo>
                  <a:pt x="0" y="0"/>
                </a:lnTo>
                <a:lnTo>
                  <a:pt x="0" y="162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2" name="Заголовок 1"/>
          <p:cNvSpPr>
            <a:spLocks noGrp="1"/>
          </p:cNvSpPr>
          <p:nvPr userDrawn="1">
            <p:ph type="title"/>
          </p:nvPr>
        </p:nvSpPr>
        <p:spPr>
          <a:xfrm>
            <a:off x="0" y="0"/>
            <a:ext cx="6804248" cy="62753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1200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grpSp>
        <p:nvGrpSpPr>
          <p:cNvPr id="2" name="Группа 12"/>
          <p:cNvGrpSpPr/>
          <p:nvPr userDrawn="1"/>
        </p:nvGrpSpPr>
        <p:grpSpPr>
          <a:xfrm>
            <a:off x="7860561" y="4729766"/>
            <a:ext cx="1283439" cy="390874"/>
            <a:chOff x="9841289" y="4549776"/>
            <a:chExt cx="1887421" cy="573088"/>
          </a:xfrm>
        </p:grpSpPr>
        <p:sp>
          <p:nvSpPr>
            <p:cNvPr id="14" name="Freeform 83"/>
            <p:cNvSpPr>
              <a:spLocks noEditPoints="1"/>
            </p:cNvSpPr>
            <p:nvPr userDrawn="1"/>
          </p:nvSpPr>
          <p:spPr bwMode="auto">
            <a:xfrm>
              <a:off x="9841289" y="4549776"/>
              <a:ext cx="1887416" cy="573088"/>
            </a:xfrm>
            <a:custGeom>
              <a:avLst/>
              <a:gdLst>
                <a:gd name="T0" fmla="*/ 798 w 2898"/>
                <a:gd name="T1" fmla="*/ 1017 h 1082"/>
                <a:gd name="T2" fmla="*/ 801 w 2898"/>
                <a:gd name="T3" fmla="*/ 1017 h 1082"/>
                <a:gd name="T4" fmla="*/ 805 w 2898"/>
                <a:gd name="T5" fmla="*/ 1017 h 1082"/>
                <a:gd name="T6" fmla="*/ 808 w 2898"/>
                <a:gd name="T7" fmla="*/ 1017 h 1082"/>
                <a:gd name="T8" fmla="*/ 812 w 2898"/>
                <a:gd name="T9" fmla="*/ 1017 h 1082"/>
                <a:gd name="T10" fmla="*/ 815 w 2898"/>
                <a:gd name="T11" fmla="*/ 1017 h 1082"/>
                <a:gd name="T12" fmla="*/ 893 w 2898"/>
                <a:gd name="T13" fmla="*/ 1003 h 1082"/>
                <a:gd name="T14" fmla="*/ 1038 w 2898"/>
                <a:gd name="T15" fmla="*/ 864 h 1082"/>
                <a:gd name="T16" fmla="*/ 1381 w 2898"/>
                <a:gd name="T17" fmla="*/ 412 h 1082"/>
                <a:gd name="T18" fmla="*/ 1612 w 2898"/>
                <a:gd name="T19" fmla="*/ 257 h 1082"/>
                <a:gd name="T20" fmla="*/ 2431 w 2898"/>
                <a:gd name="T21" fmla="*/ 135 h 1082"/>
                <a:gd name="T22" fmla="*/ 2595 w 2898"/>
                <a:gd name="T23" fmla="*/ 40 h 1082"/>
                <a:gd name="T24" fmla="*/ 2802 w 2898"/>
                <a:gd name="T25" fmla="*/ 0 h 1082"/>
                <a:gd name="T26" fmla="*/ 2849 w 2898"/>
                <a:gd name="T27" fmla="*/ 40 h 1082"/>
                <a:gd name="T28" fmla="*/ 2608 w 2898"/>
                <a:gd name="T29" fmla="*/ 138 h 1082"/>
                <a:gd name="T30" fmla="*/ 2898 w 2898"/>
                <a:gd name="T31" fmla="*/ 492 h 1082"/>
                <a:gd name="T32" fmla="*/ 2898 w 2898"/>
                <a:gd name="T33" fmla="*/ 511 h 1082"/>
                <a:gd name="T34" fmla="*/ 2898 w 2898"/>
                <a:gd name="T35" fmla="*/ 530 h 1082"/>
                <a:gd name="T36" fmla="*/ 2898 w 2898"/>
                <a:gd name="T37" fmla="*/ 547 h 1082"/>
                <a:gd name="T38" fmla="*/ 2898 w 2898"/>
                <a:gd name="T39" fmla="*/ 567 h 1082"/>
                <a:gd name="T40" fmla="*/ 2898 w 2898"/>
                <a:gd name="T41" fmla="*/ 587 h 1082"/>
                <a:gd name="T42" fmla="*/ 2898 w 2898"/>
                <a:gd name="T43" fmla="*/ 604 h 1082"/>
                <a:gd name="T44" fmla="*/ 2737 w 2898"/>
                <a:gd name="T45" fmla="*/ 665 h 1082"/>
                <a:gd name="T46" fmla="*/ 2405 w 2898"/>
                <a:gd name="T47" fmla="*/ 674 h 1082"/>
                <a:gd name="T48" fmla="*/ 2279 w 2898"/>
                <a:gd name="T49" fmla="*/ 777 h 1082"/>
                <a:gd name="T50" fmla="*/ 2128 w 2898"/>
                <a:gd name="T51" fmla="*/ 935 h 1082"/>
                <a:gd name="T52" fmla="*/ 2010 w 2898"/>
                <a:gd name="T53" fmla="*/ 950 h 1082"/>
                <a:gd name="T54" fmla="*/ 1778 w 2898"/>
                <a:gd name="T55" fmla="*/ 1049 h 1082"/>
                <a:gd name="T56" fmla="*/ 1541 w 2898"/>
                <a:gd name="T57" fmla="*/ 1081 h 1082"/>
                <a:gd name="T58" fmla="*/ 1501 w 2898"/>
                <a:gd name="T59" fmla="*/ 1081 h 1082"/>
                <a:gd name="T60" fmla="*/ 1489 w 2898"/>
                <a:gd name="T61" fmla="*/ 1081 h 1082"/>
                <a:gd name="T62" fmla="*/ 1479 w 2898"/>
                <a:gd name="T63" fmla="*/ 1081 h 1082"/>
                <a:gd name="T64" fmla="*/ 1467 w 2898"/>
                <a:gd name="T65" fmla="*/ 1081 h 1082"/>
                <a:gd name="T66" fmla="*/ 1455 w 2898"/>
                <a:gd name="T67" fmla="*/ 1081 h 1082"/>
                <a:gd name="T68" fmla="*/ 1445 w 2898"/>
                <a:gd name="T69" fmla="*/ 1081 h 1082"/>
                <a:gd name="T70" fmla="*/ 1437 w 2898"/>
                <a:gd name="T71" fmla="*/ 1061 h 1082"/>
                <a:gd name="T72" fmla="*/ 1448 w 2898"/>
                <a:gd name="T73" fmla="*/ 1061 h 1082"/>
                <a:gd name="T74" fmla="*/ 1460 w 2898"/>
                <a:gd name="T75" fmla="*/ 1061 h 1082"/>
                <a:gd name="T76" fmla="*/ 1472 w 2898"/>
                <a:gd name="T77" fmla="*/ 1061 h 1082"/>
                <a:gd name="T78" fmla="*/ 1483 w 2898"/>
                <a:gd name="T79" fmla="*/ 1061 h 1082"/>
                <a:gd name="T80" fmla="*/ 1495 w 2898"/>
                <a:gd name="T81" fmla="*/ 1061 h 1082"/>
                <a:gd name="T82" fmla="*/ 1507 w 2898"/>
                <a:gd name="T83" fmla="*/ 1061 h 1082"/>
                <a:gd name="T84" fmla="*/ 1652 w 2898"/>
                <a:gd name="T85" fmla="*/ 1032 h 1082"/>
                <a:gd name="T86" fmla="*/ 1030 w 2898"/>
                <a:gd name="T87" fmla="*/ 950 h 1082"/>
                <a:gd name="T88" fmla="*/ 889 w 2898"/>
                <a:gd name="T89" fmla="*/ 1028 h 1082"/>
                <a:gd name="T90" fmla="*/ 815 w 2898"/>
                <a:gd name="T91" fmla="*/ 1037 h 1082"/>
                <a:gd name="T92" fmla="*/ 812 w 2898"/>
                <a:gd name="T93" fmla="*/ 1037 h 1082"/>
                <a:gd name="T94" fmla="*/ 808 w 2898"/>
                <a:gd name="T95" fmla="*/ 1037 h 1082"/>
                <a:gd name="T96" fmla="*/ 805 w 2898"/>
                <a:gd name="T97" fmla="*/ 1037 h 1082"/>
                <a:gd name="T98" fmla="*/ 801 w 2898"/>
                <a:gd name="T99" fmla="*/ 1037 h 1082"/>
                <a:gd name="T100" fmla="*/ 798 w 2898"/>
                <a:gd name="T101" fmla="*/ 1037 h 1082"/>
                <a:gd name="T102" fmla="*/ 55 w 2898"/>
                <a:gd name="T103" fmla="*/ 1017 h 1082"/>
                <a:gd name="T104" fmla="*/ 2019 w 2898"/>
                <a:gd name="T105" fmla="*/ 929 h 1082"/>
                <a:gd name="T106" fmla="*/ 2133 w 2898"/>
                <a:gd name="T107" fmla="*/ 907 h 1082"/>
                <a:gd name="T108" fmla="*/ 2272 w 2898"/>
                <a:gd name="T109" fmla="*/ 747 h 1082"/>
                <a:gd name="T110" fmla="*/ 1853 w 2898"/>
                <a:gd name="T111" fmla="*/ 873 h 1082"/>
                <a:gd name="T112" fmla="*/ 1421 w 2898"/>
                <a:gd name="T113" fmla="*/ 617 h 1082"/>
                <a:gd name="T114" fmla="*/ 1268 w 2898"/>
                <a:gd name="T115" fmla="*/ 672 h 10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98" h="1082">
                  <a:moveTo>
                    <a:pt x="55" y="1017"/>
                  </a:moveTo>
                  <a:lnTo>
                    <a:pt x="796" y="1017"/>
                  </a:lnTo>
                  <a:lnTo>
                    <a:pt x="796" y="1017"/>
                  </a:lnTo>
                  <a:lnTo>
                    <a:pt x="797" y="1017"/>
                  </a:lnTo>
                  <a:lnTo>
                    <a:pt x="797" y="1017"/>
                  </a:lnTo>
                  <a:lnTo>
                    <a:pt x="797" y="1017"/>
                  </a:lnTo>
                  <a:lnTo>
                    <a:pt x="797" y="1017"/>
                  </a:lnTo>
                  <a:lnTo>
                    <a:pt x="798" y="1017"/>
                  </a:lnTo>
                  <a:lnTo>
                    <a:pt x="798" y="1017"/>
                  </a:lnTo>
                  <a:lnTo>
                    <a:pt x="798" y="1017"/>
                  </a:lnTo>
                  <a:lnTo>
                    <a:pt x="799" y="1017"/>
                  </a:lnTo>
                  <a:lnTo>
                    <a:pt x="799" y="1017"/>
                  </a:lnTo>
                  <a:lnTo>
                    <a:pt x="799" y="1017"/>
                  </a:lnTo>
                  <a:lnTo>
                    <a:pt x="799" y="1017"/>
                  </a:lnTo>
                  <a:lnTo>
                    <a:pt x="800" y="1017"/>
                  </a:lnTo>
                  <a:lnTo>
                    <a:pt x="800" y="1017"/>
                  </a:lnTo>
                  <a:lnTo>
                    <a:pt x="800" y="1017"/>
                  </a:lnTo>
                  <a:lnTo>
                    <a:pt x="801" y="1017"/>
                  </a:lnTo>
                  <a:lnTo>
                    <a:pt x="801" y="1017"/>
                  </a:lnTo>
                  <a:lnTo>
                    <a:pt x="801" y="1017"/>
                  </a:lnTo>
                  <a:lnTo>
                    <a:pt x="801" y="1017"/>
                  </a:lnTo>
                  <a:lnTo>
                    <a:pt x="803" y="1017"/>
                  </a:lnTo>
                  <a:lnTo>
                    <a:pt x="803" y="1017"/>
                  </a:lnTo>
                  <a:lnTo>
                    <a:pt x="803" y="1017"/>
                  </a:lnTo>
                  <a:lnTo>
                    <a:pt x="804" y="1017"/>
                  </a:lnTo>
                  <a:lnTo>
                    <a:pt x="804" y="1017"/>
                  </a:lnTo>
                  <a:lnTo>
                    <a:pt x="804" y="1017"/>
                  </a:lnTo>
                  <a:lnTo>
                    <a:pt x="804" y="1017"/>
                  </a:lnTo>
                  <a:lnTo>
                    <a:pt x="805" y="1017"/>
                  </a:lnTo>
                  <a:lnTo>
                    <a:pt x="805" y="1017"/>
                  </a:lnTo>
                  <a:lnTo>
                    <a:pt x="805" y="1017"/>
                  </a:lnTo>
                  <a:lnTo>
                    <a:pt x="806" y="1017"/>
                  </a:lnTo>
                  <a:lnTo>
                    <a:pt x="806" y="1017"/>
                  </a:lnTo>
                  <a:lnTo>
                    <a:pt x="806" y="1017"/>
                  </a:lnTo>
                  <a:lnTo>
                    <a:pt x="806" y="1017"/>
                  </a:lnTo>
                  <a:lnTo>
                    <a:pt x="807" y="1017"/>
                  </a:lnTo>
                  <a:lnTo>
                    <a:pt x="807" y="1017"/>
                  </a:lnTo>
                  <a:lnTo>
                    <a:pt x="807" y="1017"/>
                  </a:lnTo>
                  <a:lnTo>
                    <a:pt x="808" y="1017"/>
                  </a:lnTo>
                  <a:lnTo>
                    <a:pt x="808" y="1017"/>
                  </a:lnTo>
                  <a:lnTo>
                    <a:pt x="808" y="1017"/>
                  </a:lnTo>
                  <a:lnTo>
                    <a:pt x="810" y="1017"/>
                  </a:lnTo>
                  <a:lnTo>
                    <a:pt x="810" y="1017"/>
                  </a:lnTo>
                  <a:lnTo>
                    <a:pt x="810" y="1017"/>
                  </a:lnTo>
                  <a:lnTo>
                    <a:pt x="810" y="1017"/>
                  </a:lnTo>
                  <a:lnTo>
                    <a:pt x="811" y="1017"/>
                  </a:lnTo>
                  <a:lnTo>
                    <a:pt x="811" y="1017"/>
                  </a:lnTo>
                  <a:lnTo>
                    <a:pt x="811" y="1017"/>
                  </a:lnTo>
                  <a:lnTo>
                    <a:pt x="812" y="1017"/>
                  </a:lnTo>
                  <a:lnTo>
                    <a:pt x="812" y="1017"/>
                  </a:lnTo>
                  <a:lnTo>
                    <a:pt x="812" y="1017"/>
                  </a:lnTo>
                  <a:lnTo>
                    <a:pt x="812" y="1017"/>
                  </a:lnTo>
                  <a:lnTo>
                    <a:pt x="813" y="1017"/>
                  </a:lnTo>
                  <a:lnTo>
                    <a:pt x="813" y="1017"/>
                  </a:lnTo>
                  <a:lnTo>
                    <a:pt x="813" y="1017"/>
                  </a:lnTo>
                  <a:lnTo>
                    <a:pt x="814" y="1017"/>
                  </a:lnTo>
                  <a:lnTo>
                    <a:pt x="814" y="1017"/>
                  </a:lnTo>
                  <a:lnTo>
                    <a:pt x="814" y="1017"/>
                  </a:lnTo>
                  <a:lnTo>
                    <a:pt x="814" y="1017"/>
                  </a:lnTo>
                  <a:lnTo>
                    <a:pt x="815" y="1017"/>
                  </a:lnTo>
                  <a:lnTo>
                    <a:pt x="815" y="1017"/>
                  </a:lnTo>
                  <a:lnTo>
                    <a:pt x="815" y="1017"/>
                  </a:lnTo>
                  <a:lnTo>
                    <a:pt x="817" y="1017"/>
                  </a:lnTo>
                  <a:lnTo>
                    <a:pt x="817" y="1017"/>
                  </a:lnTo>
                  <a:lnTo>
                    <a:pt x="817" y="1017"/>
                  </a:lnTo>
                  <a:lnTo>
                    <a:pt x="817" y="1017"/>
                  </a:lnTo>
                  <a:lnTo>
                    <a:pt x="836" y="1017"/>
                  </a:lnTo>
                  <a:lnTo>
                    <a:pt x="855" y="1014"/>
                  </a:lnTo>
                  <a:lnTo>
                    <a:pt x="874" y="1010"/>
                  </a:lnTo>
                  <a:lnTo>
                    <a:pt x="893" y="1003"/>
                  </a:lnTo>
                  <a:lnTo>
                    <a:pt x="911" y="993"/>
                  </a:lnTo>
                  <a:lnTo>
                    <a:pt x="930" y="981"/>
                  </a:lnTo>
                  <a:lnTo>
                    <a:pt x="949" y="966"/>
                  </a:lnTo>
                  <a:lnTo>
                    <a:pt x="968" y="950"/>
                  </a:lnTo>
                  <a:lnTo>
                    <a:pt x="113" y="950"/>
                  </a:lnTo>
                  <a:lnTo>
                    <a:pt x="131" y="929"/>
                  </a:lnTo>
                  <a:lnTo>
                    <a:pt x="987" y="929"/>
                  </a:lnTo>
                  <a:lnTo>
                    <a:pt x="993" y="923"/>
                  </a:lnTo>
                  <a:lnTo>
                    <a:pt x="998" y="917"/>
                  </a:lnTo>
                  <a:lnTo>
                    <a:pt x="1038" y="864"/>
                  </a:lnTo>
                  <a:lnTo>
                    <a:pt x="1077" y="813"/>
                  </a:lnTo>
                  <a:lnTo>
                    <a:pt x="1117" y="760"/>
                  </a:lnTo>
                  <a:lnTo>
                    <a:pt x="1157" y="708"/>
                  </a:lnTo>
                  <a:lnTo>
                    <a:pt x="1197" y="655"/>
                  </a:lnTo>
                  <a:lnTo>
                    <a:pt x="1238" y="602"/>
                  </a:lnTo>
                  <a:lnTo>
                    <a:pt x="1278" y="549"/>
                  </a:lnTo>
                  <a:lnTo>
                    <a:pt x="1317" y="497"/>
                  </a:lnTo>
                  <a:lnTo>
                    <a:pt x="1338" y="466"/>
                  </a:lnTo>
                  <a:lnTo>
                    <a:pt x="1359" y="438"/>
                  </a:lnTo>
                  <a:lnTo>
                    <a:pt x="1381" y="412"/>
                  </a:lnTo>
                  <a:lnTo>
                    <a:pt x="1402" y="388"/>
                  </a:lnTo>
                  <a:lnTo>
                    <a:pt x="1424" y="366"/>
                  </a:lnTo>
                  <a:lnTo>
                    <a:pt x="1446" y="346"/>
                  </a:lnTo>
                  <a:lnTo>
                    <a:pt x="1469" y="327"/>
                  </a:lnTo>
                  <a:lnTo>
                    <a:pt x="1492" y="311"/>
                  </a:lnTo>
                  <a:lnTo>
                    <a:pt x="1515" y="295"/>
                  </a:lnTo>
                  <a:lnTo>
                    <a:pt x="1538" y="282"/>
                  </a:lnTo>
                  <a:lnTo>
                    <a:pt x="1563" y="272"/>
                  </a:lnTo>
                  <a:lnTo>
                    <a:pt x="1588" y="264"/>
                  </a:lnTo>
                  <a:lnTo>
                    <a:pt x="1612" y="257"/>
                  </a:lnTo>
                  <a:lnTo>
                    <a:pt x="1637" y="252"/>
                  </a:lnTo>
                  <a:lnTo>
                    <a:pt x="1662" y="249"/>
                  </a:lnTo>
                  <a:lnTo>
                    <a:pt x="1688" y="249"/>
                  </a:lnTo>
                  <a:lnTo>
                    <a:pt x="2328" y="249"/>
                  </a:lnTo>
                  <a:lnTo>
                    <a:pt x="2352" y="217"/>
                  </a:lnTo>
                  <a:lnTo>
                    <a:pt x="2377" y="188"/>
                  </a:lnTo>
                  <a:lnTo>
                    <a:pt x="2390" y="174"/>
                  </a:lnTo>
                  <a:lnTo>
                    <a:pt x="2403" y="161"/>
                  </a:lnTo>
                  <a:lnTo>
                    <a:pt x="2417" y="148"/>
                  </a:lnTo>
                  <a:lnTo>
                    <a:pt x="2431" y="135"/>
                  </a:lnTo>
                  <a:lnTo>
                    <a:pt x="2446" y="123"/>
                  </a:lnTo>
                  <a:lnTo>
                    <a:pt x="2462" y="113"/>
                  </a:lnTo>
                  <a:lnTo>
                    <a:pt x="2477" y="101"/>
                  </a:lnTo>
                  <a:lnTo>
                    <a:pt x="2492" y="92"/>
                  </a:lnTo>
                  <a:lnTo>
                    <a:pt x="2508" y="81"/>
                  </a:lnTo>
                  <a:lnTo>
                    <a:pt x="2525" y="72"/>
                  </a:lnTo>
                  <a:lnTo>
                    <a:pt x="2541" y="64"/>
                  </a:lnTo>
                  <a:lnTo>
                    <a:pt x="2559" y="55"/>
                  </a:lnTo>
                  <a:lnTo>
                    <a:pt x="2577" y="47"/>
                  </a:lnTo>
                  <a:lnTo>
                    <a:pt x="2595" y="40"/>
                  </a:lnTo>
                  <a:lnTo>
                    <a:pt x="2614" y="34"/>
                  </a:lnTo>
                  <a:lnTo>
                    <a:pt x="2632" y="28"/>
                  </a:lnTo>
                  <a:lnTo>
                    <a:pt x="2652" y="23"/>
                  </a:lnTo>
                  <a:lnTo>
                    <a:pt x="2672" y="18"/>
                  </a:lnTo>
                  <a:lnTo>
                    <a:pt x="2693" y="13"/>
                  </a:lnTo>
                  <a:lnTo>
                    <a:pt x="2713" y="10"/>
                  </a:lnTo>
                  <a:lnTo>
                    <a:pt x="2735" y="6"/>
                  </a:lnTo>
                  <a:lnTo>
                    <a:pt x="2756" y="4"/>
                  </a:lnTo>
                  <a:lnTo>
                    <a:pt x="2779" y="3"/>
                  </a:lnTo>
                  <a:lnTo>
                    <a:pt x="2802" y="0"/>
                  </a:lnTo>
                  <a:lnTo>
                    <a:pt x="2825" y="0"/>
                  </a:lnTo>
                  <a:lnTo>
                    <a:pt x="2849" y="0"/>
                  </a:lnTo>
                  <a:lnTo>
                    <a:pt x="2873" y="0"/>
                  </a:lnTo>
                  <a:lnTo>
                    <a:pt x="2898" y="1"/>
                  </a:lnTo>
                  <a:lnTo>
                    <a:pt x="2898" y="11"/>
                  </a:lnTo>
                  <a:lnTo>
                    <a:pt x="2898" y="20"/>
                  </a:lnTo>
                  <a:lnTo>
                    <a:pt x="2898" y="30"/>
                  </a:lnTo>
                  <a:lnTo>
                    <a:pt x="2898" y="39"/>
                  </a:lnTo>
                  <a:lnTo>
                    <a:pt x="2873" y="39"/>
                  </a:lnTo>
                  <a:lnTo>
                    <a:pt x="2849" y="40"/>
                  </a:lnTo>
                  <a:lnTo>
                    <a:pt x="2824" y="42"/>
                  </a:lnTo>
                  <a:lnTo>
                    <a:pt x="2800" y="46"/>
                  </a:lnTo>
                  <a:lnTo>
                    <a:pt x="2775" y="52"/>
                  </a:lnTo>
                  <a:lnTo>
                    <a:pt x="2751" y="59"/>
                  </a:lnTo>
                  <a:lnTo>
                    <a:pt x="2727" y="67"/>
                  </a:lnTo>
                  <a:lnTo>
                    <a:pt x="2703" y="78"/>
                  </a:lnTo>
                  <a:lnTo>
                    <a:pt x="2679" y="89"/>
                  </a:lnTo>
                  <a:lnTo>
                    <a:pt x="2655" y="103"/>
                  </a:lnTo>
                  <a:lnTo>
                    <a:pt x="2631" y="120"/>
                  </a:lnTo>
                  <a:lnTo>
                    <a:pt x="2608" y="138"/>
                  </a:lnTo>
                  <a:lnTo>
                    <a:pt x="2584" y="158"/>
                  </a:lnTo>
                  <a:lnTo>
                    <a:pt x="2561" y="181"/>
                  </a:lnTo>
                  <a:lnTo>
                    <a:pt x="2538" y="206"/>
                  </a:lnTo>
                  <a:lnTo>
                    <a:pt x="2514" y="233"/>
                  </a:lnTo>
                  <a:lnTo>
                    <a:pt x="2504" y="249"/>
                  </a:lnTo>
                  <a:lnTo>
                    <a:pt x="2898" y="249"/>
                  </a:lnTo>
                  <a:lnTo>
                    <a:pt x="2898" y="486"/>
                  </a:lnTo>
                  <a:lnTo>
                    <a:pt x="2898" y="489"/>
                  </a:lnTo>
                  <a:lnTo>
                    <a:pt x="2898" y="490"/>
                  </a:lnTo>
                  <a:lnTo>
                    <a:pt x="2898" y="492"/>
                  </a:lnTo>
                  <a:lnTo>
                    <a:pt x="2898" y="494"/>
                  </a:lnTo>
                  <a:lnTo>
                    <a:pt x="2898" y="496"/>
                  </a:lnTo>
                  <a:lnTo>
                    <a:pt x="2898" y="497"/>
                  </a:lnTo>
                  <a:lnTo>
                    <a:pt x="2898" y="500"/>
                  </a:lnTo>
                  <a:lnTo>
                    <a:pt x="2898" y="500"/>
                  </a:lnTo>
                  <a:lnTo>
                    <a:pt x="2898" y="503"/>
                  </a:lnTo>
                  <a:lnTo>
                    <a:pt x="2898" y="506"/>
                  </a:lnTo>
                  <a:lnTo>
                    <a:pt x="2898" y="506"/>
                  </a:lnTo>
                  <a:lnTo>
                    <a:pt x="2898" y="508"/>
                  </a:lnTo>
                  <a:lnTo>
                    <a:pt x="2898" y="511"/>
                  </a:lnTo>
                  <a:lnTo>
                    <a:pt x="2898" y="512"/>
                  </a:lnTo>
                  <a:lnTo>
                    <a:pt x="2898" y="514"/>
                  </a:lnTo>
                  <a:lnTo>
                    <a:pt x="2898" y="517"/>
                  </a:lnTo>
                  <a:lnTo>
                    <a:pt x="2898" y="518"/>
                  </a:lnTo>
                  <a:lnTo>
                    <a:pt x="2898" y="520"/>
                  </a:lnTo>
                  <a:lnTo>
                    <a:pt x="2898" y="523"/>
                  </a:lnTo>
                  <a:lnTo>
                    <a:pt x="2898" y="524"/>
                  </a:lnTo>
                  <a:lnTo>
                    <a:pt x="2898" y="525"/>
                  </a:lnTo>
                  <a:lnTo>
                    <a:pt x="2898" y="528"/>
                  </a:lnTo>
                  <a:lnTo>
                    <a:pt x="2898" y="530"/>
                  </a:lnTo>
                  <a:lnTo>
                    <a:pt x="2898" y="531"/>
                  </a:lnTo>
                  <a:lnTo>
                    <a:pt x="2898" y="533"/>
                  </a:lnTo>
                  <a:lnTo>
                    <a:pt x="2898" y="535"/>
                  </a:lnTo>
                  <a:lnTo>
                    <a:pt x="2898" y="537"/>
                  </a:lnTo>
                  <a:lnTo>
                    <a:pt x="2898" y="539"/>
                  </a:lnTo>
                  <a:lnTo>
                    <a:pt x="2898" y="541"/>
                  </a:lnTo>
                  <a:lnTo>
                    <a:pt x="2898" y="542"/>
                  </a:lnTo>
                  <a:lnTo>
                    <a:pt x="2898" y="545"/>
                  </a:lnTo>
                  <a:lnTo>
                    <a:pt x="2898" y="547"/>
                  </a:lnTo>
                  <a:lnTo>
                    <a:pt x="2898" y="547"/>
                  </a:lnTo>
                  <a:lnTo>
                    <a:pt x="2898" y="551"/>
                  </a:lnTo>
                  <a:lnTo>
                    <a:pt x="2898" y="553"/>
                  </a:lnTo>
                  <a:lnTo>
                    <a:pt x="2898" y="553"/>
                  </a:lnTo>
                  <a:lnTo>
                    <a:pt x="2898" y="556"/>
                  </a:lnTo>
                  <a:lnTo>
                    <a:pt x="2898" y="558"/>
                  </a:lnTo>
                  <a:lnTo>
                    <a:pt x="2898" y="559"/>
                  </a:lnTo>
                  <a:lnTo>
                    <a:pt x="2898" y="561"/>
                  </a:lnTo>
                  <a:lnTo>
                    <a:pt x="2898" y="563"/>
                  </a:lnTo>
                  <a:lnTo>
                    <a:pt x="2898" y="565"/>
                  </a:lnTo>
                  <a:lnTo>
                    <a:pt x="2898" y="567"/>
                  </a:lnTo>
                  <a:lnTo>
                    <a:pt x="2898" y="569"/>
                  </a:lnTo>
                  <a:lnTo>
                    <a:pt x="2898" y="571"/>
                  </a:lnTo>
                  <a:lnTo>
                    <a:pt x="2898" y="573"/>
                  </a:lnTo>
                  <a:lnTo>
                    <a:pt x="2898" y="575"/>
                  </a:lnTo>
                  <a:lnTo>
                    <a:pt x="2898" y="575"/>
                  </a:lnTo>
                  <a:lnTo>
                    <a:pt x="2898" y="579"/>
                  </a:lnTo>
                  <a:lnTo>
                    <a:pt x="2898" y="581"/>
                  </a:lnTo>
                  <a:lnTo>
                    <a:pt x="2898" y="581"/>
                  </a:lnTo>
                  <a:lnTo>
                    <a:pt x="2898" y="585"/>
                  </a:lnTo>
                  <a:lnTo>
                    <a:pt x="2898" y="587"/>
                  </a:lnTo>
                  <a:lnTo>
                    <a:pt x="2898" y="587"/>
                  </a:lnTo>
                  <a:lnTo>
                    <a:pt x="2898" y="589"/>
                  </a:lnTo>
                  <a:lnTo>
                    <a:pt x="2898" y="593"/>
                  </a:lnTo>
                  <a:lnTo>
                    <a:pt x="2898" y="593"/>
                  </a:lnTo>
                  <a:lnTo>
                    <a:pt x="2898" y="595"/>
                  </a:lnTo>
                  <a:lnTo>
                    <a:pt x="2898" y="599"/>
                  </a:lnTo>
                  <a:lnTo>
                    <a:pt x="2898" y="599"/>
                  </a:lnTo>
                  <a:lnTo>
                    <a:pt x="2898" y="601"/>
                  </a:lnTo>
                  <a:lnTo>
                    <a:pt x="2898" y="603"/>
                  </a:lnTo>
                  <a:lnTo>
                    <a:pt x="2898" y="604"/>
                  </a:lnTo>
                  <a:lnTo>
                    <a:pt x="2898" y="607"/>
                  </a:lnTo>
                  <a:lnTo>
                    <a:pt x="2898" y="609"/>
                  </a:lnTo>
                  <a:lnTo>
                    <a:pt x="2898" y="610"/>
                  </a:lnTo>
                  <a:lnTo>
                    <a:pt x="2898" y="613"/>
                  </a:lnTo>
                  <a:lnTo>
                    <a:pt x="2898" y="615"/>
                  </a:lnTo>
                  <a:lnTo>
                    <a:pt x="2898" y="616"/>
                  </a:lnTo>
                  <a:lnTo>
                    <a:pt x="2898" y="665"/>
                  </a:lnTo>
                  <a:lnTo>
                    <a:pt x="2844" y="665"/>
                  </a:lnTo>
                  <a:lnTo>
                    <a:pt x="2790" y="665"/>
                  </a:lnTo>
                  <a:lnTo>
                    <a:pt x="2737" y="665"/>
                  </a:lnTo>
                  <a:lnTo>
                    <a:pt x="2683" y="665"/>
                  </a:lnTo>
                  <a:lnTo>
                    <a:pt x="2629" y="665"/>
                  </a:lnTo>
                  <a:lnTo>
                    <a:pt x="2575" y="665"/>
                  </a:lnTo>
                  <a:lnTo>
                    <a:pt x="2521" y="665"/>
                  </a:lnTo>
                  <a:lnTo>
                    <a:pt x="2467" y="665"/>
                  </a:lnTo>
                  <a:lnTo>
                    <a:pt x="2453" y="665"/>
                  </a:lnTo>
                  <a:lnTo>
                    <a:pt x="2441" y="667"/>
                  </a:lnTo>
                  <a:lnTo>
                    <a:pt x="2429" y="669"/>
                  </a:lnTo>
                  <a:lnTo>
                    <a:pt x="2416" y="671"/>
                  </a:lnTo>
                  <a:lnTo>
                    <a:pt x="2405" y="674"/>
                  </a:lnTo>
                  <a:lnTo>
                    <a:pt x="2394" y="677"/>
                  </a:lnTo>
                  <a:lnTo>
                    <a:pt x="2383" y="682"/>
                  </a:lnTo>
                  <a:lnTo>
                    <a:pt x="2374" y="686"/>
                  </a:lnTo>
                  <a:lnTo>
                    <a:pt x="2363" y="692"/>
                  </a:lnTo>
                  <a:lnTo>
                    <a:pt x="2354" y="698"/>
                  </a:lnTo>
                  <a:lnTo>
                    <a:pt x="2346" y="704"/>
                  </a:lnTo>
                  <a:lnTo>
                    <a:pt x="2336" y="711"/>
                  </a:lnTo>
                  <a:lnTo>
                    <a:pt x="2320" y="726"/>
                  </a:lnTo>
                  <a:lnTo>
                    <a:pt x="2306" y="744"/>
                  </a:lnTo>
                  <a:lnTo>
                    <a:pt x="2279" y="777"/>
                  </a:lnTo>
                  <a:lnTo>
                    <a:pt x="2253" y="811"/>
                  </a:lnTo>
                  <a:lnTo>
                    <a:pt x="2226" y="844"/>
                  </a:lnTo>
                  <a:lnTo>
                    <a:pt x="2201" y="878"/>
                  </a:lnTo>
                  <a:lnTo>
                    <a:pt x="2188" y="894"/>
                  </a:lnTo>
                  <a:lnTo>
                    <a:pt x="2173" y="908"/>
                  </a:lnTo>
                  <a:lnTo>
                    <a:pt x="2164" y="914"/>
                  </a:lnTo>
                  <a:lnTo>
                    <a:pt x="2156" y="919"/>
                  </a:lnTo>
                  <a:lnTo>
                    <a:pt x="2147" y="925"/>
                  </a:lnTo>
                  <a:lnTo>
                    <a:pt x="2138" y="930"/>
                  </a:lnTo>
                  <a:lnTo>
                    <a:pt x="2128" y="935"/>
                  </a:lnTo>
                  <a:lnTo>
                    <a:pt x="2118" y="938"/>
                  </a:lnTo>
                  <a:lnTo>
                    <a:pt x="2106" y="942"/>
                  </a:lnTo>
                  <a:lnTo>
                    <a:pt x="2094" y="945"/>
                  </a:lnTo>
                  <a:lnTo>
                    <a:pt x="2081" y="946"/>
                  </a:lnTo>
                  <a:lnTo>
                    <a:pt x="2068" y="949"/>
                  </a:lnTo>
                  <a:lnTo>
                    <a:pt x="2054" y="950"/>
                  </a:lnTo>
                  <a:lnTo>
                    <a:pt x="2039" y="950"/>
                  </a:lnTo>
                  <a:lnTo>
                    <a:pt x="2030" y="950"/>
                  </a:lnTo>
                  <a:lnTo>
                    <a:pt x="2019" y="950"/>
                  </a:lnTo>
                  <a:lnTo>
                    <a:pt x="2010" y="950"/>
                  </a:lnTo>
                  <a:lnTo>
                    <a:pt x="2001" y="950"/>
                  </a:lnTo>
                  <a:lnTo>
                    <a:pt x="1937" y="950"/>
                  </a:lnTo>
                  <a:lnTo>
                    <a:pt x="1919" y="965"/>
                  </a:lnTo>
                  <a:lnTo>
                    <a:pt x="1901" y="980"/>
                  </a:lnTo>
                  <a:lnTo>
                    <a:pt x="1882" y="993"/>
                  </a:lnTo>
                  <a:lnTo>
                    <a:pt x="1863" y="1006"/>
                  </a:lnTo>
                  <a:lnTo>
                    <a:pt x="1843" y="1019"/>
                  </a:lnTo>
                  <a:lnTo>
                    <a:pt x="1822" y="1029"/>
                  </a:lnTo>
                  <a:lnTo>
                    <a:pt x="1801" y="1040"/>
                  </a:lnTo>
                  <a:lnTo>
                    <a:pt x="1778" y="1049"/>
                  </a:lnTo>
                  <a:lnTo>
                    <a:pt x="1755" y="1058"/>
                  </a:lnTo>
                  <a:lnTo>
                    <a:pt x="1732" y="1065"/>
                  </a:lnTo>
                  <a:lnTo>
                    <a:pt x="1707" y="1070"/>
                  </a:lnTo>
                  <a:lnTo>
                    <a:pt x="1681" y="1075"/>
                  </a:lnTo>
                  <a:lnTo>
                    <a:pt x="1655" y="1079"/>
                  </a:lnTo>
                  <a:lnTo>
                    <a:pt x="1629" y="1081"/>
                  </a:lnTo>
                  <a:lnTo>
                    <a:pt x="1600" y="1082"/>
                  </a:lnTo>
                  <a:lnTo>
                    <a:pt x="1571" y="1081"/>
                  </a:lnTo>
                  <a:lnTo>
                    <a:pt x="1556" y="1081"/>
                  </a:lnTo>
                  <a:lnTo>
                    <a:pt x="1541" y="1081"/>
                  </a:lnTo>
                  <a:lnTo>
                    <a:pt x="1526" y="1081"/>
                  </a:lnTo>
                  <a:lnTo>
                    <a:pt x="1510" y="1081"/>
                  </a:lnTo>
                  <a:lnTo>
                    <a:pt x="1509" y="1081"/>
                  </a:lnTo>
                  <a:lnTo>
                    <a:pt x="1508" y="1081"/>
                  </a:lnTo>
                  <a:lnTo>
                    <a:pt x="1507" y="1081"/>
                  </a:lnTo>
                  <a:lnTo>
                    <a:pt x="1506" y="1081"/>
                  </a:lnTo>
                  <a:lnTo>
                    <a:pt x="1505" y="1081"/>
                  </a:lnTo>
                  <a:lnTo>
                    <a:pt x="1503" y="1081"/>
                  </a:lnTo>
                  <a:lnTo>
                    <a:pt x="1502" y="1081"/>
                  </a:lnTo>
                  <a:lnTo>
                    <a:pt x="1501" y="1081"/>
                  </a:lnTo>
                  <a:lnTo>
                    <a:pt x="1500" y="1081"/>
                  </a:lnTo>
                  <a:lnTo>
                    <a:pt x="1499" y="1081"/>
                  </a:lnTo>
                  <a:lnTo>
                    <a:pt x="1498" y="1081"/>
                  </a:lnTo>
                  <a:lnTo>
                    <a:pt x="1496" y="1081"/>
                  </a:lnTo>
                  <a:lnTo>
                    <a:pt x="1495" y="1081"/>
                  </a:lnTo>
                  <a:lnTo>
                    <a:pt x="1494" y="1081"/>
                  </a:lnTo>
                  <a:lnTo>
                    <a:pt x="1493" y="1081"/>
                  </a:lnTo>
                  <a:lnTo>
                    <a:pt x="1492" y="1081"/>
                  </a:lnTo>
                  <a:lnTo>
                    <a:pt x="1490" y="1081"/>
                  </a:lnTo>
                  <a:lnTo>
                    <a:pt x="1489" y="1081"/>
                  </a:lnTo>
                  <a:lnTo>
                    <a:pt x="1488" y="1081"/>
                  </a:lnTo>
                  <a:lnTo>
                    <a:pt x="1487" y="1081"/>
                  </a:lnTo>
                  <a:lnTo>
                    <a:pt x="1487" y="1081"/>
                  </a:lnTo>
                  <a:lnTo>
                    <a:pt x="1486" y="1081"/>
                  </a:lnTo>
                  <a:lnTo>
                    <a:pt x="1485" y="1081"/>
                  </a:lnTo>
                  <a:lnTo>
                    <a:pt x="1483" y="1081"/>
                  </a:lnTo>
                  <a:lnTo>
                    <a:pt x="1482" y="1081"/>
                  </a:lnTo>
                  <a:lnTo>
                    <a:pt x="1481" y="1081"/>
                  </a:lnTo>
                  <a:lnTo>
                    <a:pt x="1480" y="1081"/>
                  </a:lnTo>
                  <a:lnTo>
                    <a:pt x="1479" y="1081"/>
                  </a:lnTo>
                  <a:lnTo>
                    <a:pt x="1478" y="1081"/>
                  </a:lnTo>
                  <a:lnTo>
                    <a:pt x="1476" y="1081"/>
                  </a:lnTo>
                  <a:lnTo>
                    <a:pt x="1475" y="1081"/>
                  </a:lnTo>
                  <a:lnTo>
                    <a:pt x="1474" y="1081"/>
                  </a:lnTo>
                  <a:lnTo>
                    <a:pt x="1473" y="1081"/>
                  </a:lnTo>
                  <a:lnTo>
                    <a:pt x="1472" y="1081"/>
                  </a:lnTo>
                  <a:lnTo>
                    <a:pt x="1471" y="1081"/>
                  </a:lnTo>
                  <a:lnTo>
                    <a:pt x="1469" y="1081"/>
                  </a:lnTo>
                  <a:lnTo>
                    <a:pt x="1468" y="1081"/>
                  </a:lnTo>
                  <a:lnTo>
                    <a:pt x="1467" y="1081"/>
                  </a:lnTo>
                  <a:lnTo>
                    <a:pt x="1466" y="1081"/>
                  </a:lnTo>
                  <a:lnTo>
                    <a:pt x="1465" y="1081"/>
                  </a:lnTo>
                  <a:lnTo>
                    <a:pt x="1464" y="1081"/>
                  </a:lnTo>
                  <a:lnTo>
                    <a:pt x="1462" y="1081"/>
                  </a:lnTo>
                  <a:lnTo>
                    <a:pt x="1461" y="1081"/>
                  </a:lnTo>
                  <a:lnTo>
                    <a:pt x="1460" y="1081"/>
                  </a:lnTo>
                  <a:lnTo>
                    <a:pt x="1459" y="1081"/>
                  </a:lnTo>
                  <a:lnTo>
                    <a:pt x="1458" y="1081"/>
                  </a:lnTo>
                  <a:lnTo>
                    <a:pt x="1457" y="1081"/>
                  </a:lnTo>
                  <a:lnTo>
                    <a:pt x="1455" y="1081"/>
                  </a:lnTo>
                  <a:lnTo>
                    <a:pt x="1454" y="1081"/>
                  </a:lnTo>
                  <a:lnTo>
                    <a:pt x="1453" y="1081"/>
                  </a:lnTo>
                  <a:lnTo>
                    <a:pt x="1453" y="1081"/>
                  </a:lnTo>
                  <a:lnTo>
                    <a:pt x="1452" y="1081"/>
                  </a:lnTo>
                  <a:lnTo>
                    <a:pt x="1451" y="1081"/>
                  </a:lnTo>
                  <a:lnTo>
                    <a:pt x="1450" y="1081"/>
                  </a:lnTo>
                  <a:lnTo>
                    <a:pt x="1448" y="1081"/>
                  </a:lnTo>
                  <a:lnTo>
                    <a:pt x="1447" y="1081"/>
                  </a:lnTo>
                  <a:lnTo>
                    <a:pt x="1446" y="1081"/>
                  </a:lnTo>
                  <a:lnTo>
                    <a:pt x="1445" y="1081"/>
                  </a:lnTo>
                  <a:lnTo>
                    <a:pt x="1444" y="1081"/>
                  </a:lnTo>
                  <a:lnTo>
                    <a:pt x="1443" y="1081"/>
                  </a:lnTo>
                  <a:lnTo>
                    <a:pt x="1441" y="1081"/>
                  </a:lnTo>
                  <a:lnTo>
                    <a:pt x="1440" y="1081"/>
                  </a:lnTo>
                  <a:lnTo>
                    <a:pt x="1439" y="1081"/>
                  </a:lnTo>
                  <a:lnTo>
                    <a:pt x="1438" y="1081"/>
                  </a:lnTo>
                  <a:lnTo>
                    <a:pt x="0" y="1081"/>
                  </a:lnTo>
                  <a:lnTo>
                    <a:pt x="17" y="1061"/>
                  </a:lnTo>
                  <a:lnTo>
                    <a:pt x="1436" y="1061"/>
                  </a:lnTo>
                  <a:lnTo>
                    <a:pt x="1437" y="1061"/>
                  </a:lnTo>
                  <a:lnTo>
                    <a:pt x="1438" y="1061"/>
                  </a:lnTo>
                  <a:lnTo>
                    <a:pt x="1439" y="1061"/>
                  </a:lnTo>
                  <a:lnTo>
                    <a:pt x="1440" y="1061"/>
                  </a:lnTo>
                  <a:lnTo>
                    <a:pt x="1441" y="1061"/>
                  </a:lnTo>
                  <a:lnTo>
                    <a:pt x="1443" y="1061"/>
                  </a:lnTo>
                  <a:lnTo>
                    <a:pt x="1444" y="1061"/>
                  </a:lnTo>
                  <a:lnTo>
                    <a:pt x="1445" y="1061"/>
                  </a:lnTo>
                  <a:lnTo>
                    <a:pt x="1446" y="1061"/>
                  </a:lnTo>
                  <a:lnTo>
                    <a:pt x="1447" y="1061"/>
                  </a:lnTo>
                  <a:lnTo>
                    <a:pt x="1448" y="1061"/>
                  </a:lnTo>
                  <a:lnTo>
                    <a:pt x="1450" y="1061"/>
                  </a:lnTo>
                  <a:lnTo>
                    <a:pt x="1451" y="1061"/>
                  </a:lnTo>
                  <a:lnTo>
                    <a:pt x="1452" y="1061"/>
                  </a:lnTo>
                  <a:lnTo>
                    <a:pt x="1453" y="1061"/>
                  </a:lnTo>
                  <a:lnTo>
                    <a:pt x="1454" y="1061"/>
                  </a:lnTo>
                  <a:lnTo>
                    <a:pt x="1455" y="1061"/>
                  </a:lnTo>
                  <a:lnTo>
                    <a:pt x="1457" y="1061"/>
                  </a:lnTo>
                  <a:lnTo>
                    <a:pt x="1458" y="1061"/>
                  </a:lnTo>
                  <a:lnTo>
                    <a:pt x="1459" y="1061"/>
                  </a:lnTo>
                  <a:lnTo>
                    <a:pt x="1460" y="1061"/>
                  </a:lnTo>
                  <a:lnTo>
                    <a:pt x="1461" y="1061"/>
                  </a:lnTo>
                  <a:lnTo>
                    <a:pt x="1462" y="1061"/>
                  </a:lnTo>
                  <a:lnTo>
                    <a:pt x="1464" y="1061"/>
                  </a:lnTo>
                  <a:lnTo>
                    <a:pt x="1465" y="1061"/>
                  </a:lnTo>
                  <a:lnTo>
                    <a:pt x="1466" y="1061"/>
                  </a:lnTo>
                  <a:lnTo>
                    <a:pt x="1467" y="1061"/>
                  </a:lnTo>
                  <a:lnTo>
                    <a:pt x="1468" y="1061"/>
                  </a:lnTo>
                  <a:lnTo>
                    <a:pt x="1469" y="1061"/>
                  </a:lnTo>
                  <a:lnTo>
                    <a:pt x="1471" y="1061"/>
                  </a:lnTo>
                  <a:lnTo>
                    <a:pt x="1472" y="1061"/>
                  </a:lnTo>
                  <a:lnTo>
                    <a:pt x="1473" y="1061"/>
                  </a:lnTo>
                  <a:lnTo>
                    <a:pt x="1474" y="1061"/>
                  </a:lnTo>
                  <a:lnTo>
                    <a:pt x="1475" y="1061"/>
                  </a:lnTo>
                  <a:lnTo>
                    <a:pt x="1476" y="1061"/>
                  </a:lnTo>
                  <a:lnTo>
                    <a:pt x="1478" y="1061"/>
                  </a:lnTo>
                  <a:lnTo>
                    <a:pt x="1479" y="1061"/>
                  </a:lnTo>
                  <a:lnTo>
                    <a:pt x="1480" y="1061"/>
                  </a:lnTo>
                  <a:lnTo>
                    <a:pt x="1481" y="1061"/>
                  </a:lnTo>
                  <a:lnTo>
                    <a:pt x="1482" y="1061"/>
                  </a:lnTo>
                  <a:lnTo>
                    <a:pt x="1483" y="1061"/>
                  </a:lnTo>
                  <a:lnTo>
                    <a:pt x="1485" y="1061"/>
                  </a:lnTo>
                  <a:lnTo>
                    <a:pt x="1486" y="1061"/>
                  </a:lnTo>
                  <a:lnTo>
                    <a:pt x="1487" y="1061"/>
                  </a:lnTo>
                  <a:lnTo>
                    <a:pt x="1488" y="1061"/>
                  </a:lnTo>
                  <a:lnTo>
                    <a:pt x="1489" y="1061"/>
                  </a:lnTo>
                  <a:lnTo>
                    <a:pt x="1490" y="1061"/>
                  </a:lnTo>
                  <a:lnTo>
                    <a:pt x="1492" y="1061"/>
                  </a:lnTo>
                  <a:lnTo>
                    <a:pt x="1493" y="1061"/>
                  </a:lnTo>
                  <a:lnTo>
                    <a:pt x="1494" y="1061"/>
                  </a:lnTo>
                  <a:lnTo>
                    <a:pt x="1495" y="1061"/>
                  </a:lnTo>
                  <a:lnTo>
                    <a:pt x="1496" y="1061"/>
                  </a:lnTo>
                  <a:lnTo>
                    <a:pt x="1498" y="1061"/>
                  </a:lnTo>
                  <a:lnTo>
                    <a:pt x="1499" y="1061"/>
                  </a:lnTo>
                  <a:lnTo>
                    <a:pt x="1500" y="1061"/>
                  </a:lnTo>
                  <a:lnTo>
                    <a:pt x="1501" y="1061"/>
                  </a:lnTo>
                  <a:lnTo>
                    <a:pt x="1502" y="1061"/>
                  </a:lnTo>
                  <a:lnTo>
                    <a:pt x="1503" y="1061"/>
                  </a:lnTo>
                  <a:lnTo>
                    <a:pt x="1505" y="1061"/>
                  </a:lnTo>
                  <a:lnTo>
                    <a:pt x="1506" y="1061"/>
                  </a:lnTo>
                  <a:lnTo>
                    <a:pt x="1507" y="1061"/>
                  </a:lnTo>
                  <a:lnTo>
                    <a:pt x="1508" y="1061"/>
                  </a:lnTo>
                  <a:lnTo>
                    <a:pt x="1509" y="1061"/>
                  </a:lnTo>
                  <a:lnTo>
                    <a:pt x="1510" y="1061"/>
                  </a:lnTo>
                  <a:lnTo>
                    <a:pt x="1533" y="1059"/>
                  </a:lnTo>
                  <a:lnTo>
                    <a:pt x="1554" y="1056"/>
                  </a:lnTo>
                  <a:lnTo>
                    <a:pt x="1575" y="1053"/>
                  </a:lnTo>
                  <a:lnTo>
                    <a:pt x="1595" y="1048"/>
                  </a:lnTo>
                  <a:lnTo>
                    <a:pt x="1615" y="1044"/>
                  </a:lnTo>
                  <a:lnTo>
                    <a:pt x="1633" y="1038"/>
                  </a:lnTo>
                  <a:lnTo>
                    <a:pt x="1652" y="1032"/>
                  </a:lnTo>
                  <a:lnTo>
                    <a:pt x="1670" y="1025"/>
                  </a:lnTo>
                  <a:lnTo>
                    <a:pt x="1686" y="1018"/>
                  </a:lnTo>
                  <a:lnTo>
                    <a:pt x="1702" y="1010"/>
                  </a:lnTo>
                  <a:lnTo>
                    <a:pt x="1719" y="1001"/>
                  </a:lnTo>
                  <a:lnTo>
                    <a:pt x="1733" y="992"/>
                  </a:lnTo>
                  <a:lnTo>
                    <a:pt x="1748" y="983"/>
                  </a:lnTo>
                  <a:lnTo>
                    <a:pt x="1762" y="972"/>
                  </a:lnTo>
                  <a:lnTo>
                    <a:pt x="1775" y="960"/>
                  </a:lnTo>
                  <a:lnTo>
                    <a:pt x="1788" y="950"/>
                  </a:lnTo>
                  <a:lnTo>
                    <a:pt x="1030" y="950"/>
                  </a:lnTo>
                  <a:lnTo>
                    <a:pt x="1008" y="967"/>
                  </a:lnTo>
                  <a:lnTo>
                    <a:pt x="989" y="984"/>
                  </a:lnTo>
                  <a:lnTo>
                    <a:pt x="978" y="992"/>
                  </a:lnTo>
                  <a:lnTo>
                    <a:pt x="966" y="999"/>
                  </a:lnTo>
                  <a:lnTo>
                    <a:pt x="956" y="1005"/>
                  </a:lnTo>
                  <a:lnTo>
                    <a:pt x="943" y="1011"/>
                  </a:lnTo>
                  <a:lnTo>
                    <a:pt x="931" y="1015"/>
                  </a:lnTo>
                  <a:lnTo>
                    <a:pt x="917" y="1020"/>
                  </a:lnTo>
                  <a:lnTo>
                    <a:pt x="903" y="1025"/>
                  </a:lnTo>
                  <a:lnTo>
                    <a:pt x="889" y="1028"/>
                  </a:lnTo>
                  <a:lnTo>
                    <a:pt x="873" y="1032"/>
                  </a:lnTo>
                  <a:lnTo>
                    <a:pt x="855" y="1034"/>
                  </a:lnTo>
                  <a:lnTo>
                    <a:pt x="836" y="1035"/>
                  </a:lnTo>
                  <a:lnTo>
                    <a:pt x="817" y="1037"/>
                  </a:lnTo>
                  <a:lnTo>
                    <a:pt x="817" y="1037"/>
                  </a:lnTo>
                  <a:lnTo>
                    <a:pt x="817" y="1037"/>
                  </a:lnTo>
                  <a:lnTo>
                    <a:pt x="817" y="1037"/>
                  </a:lnTo>
                  <a:lnTo>
                    <a:pt x="815" y="1037"/>
                  </a:lnTo>
                  <a:lnTo>
                    <a:pt x="815" y="1037"/>
                  </a:lnTo>
                  <a:lnTo>
                    <a:pt x="815" y="1037"/>
                  </a:lnTo>
                  <a:lnTo>
                    <a:pt x="814" y="1037"/>
                  </a:lnTo>
                  <a:lnTo>
                    <a:pt x="814" y="1037"/>
                  </a:lnTo>
                  <a:lnTo>
                    <a:pt x="814" y="1037"/>
                  </a:lnTo>
                  <a:lnTo>
                    <a:pt x="814" y="1037"/>
                  </a:lnTo>
                  <a:lnTo>
                    <a:pt x="813" y="1037"/>
                  </a:lnTo>
                  <a:lnTo>
                    <a:pt x="813" y="1037"/>
                  </a:lnTo>
                  <a:lnTo>
                    <a:pt x="813" y="1037"/>
                  </a:lnTo>
                  <a:lnTo>
                    <a:pt x="812" y="1037"/>
                  </a:lnTo>
                  <a:lnTo>
                    <a:pt x="812" y="1037"/>
                  </a:lnTo>
                  <a:lnTo>
                    <a:pt x="812" y="1037"/>
                  </a:lnTo>
                  <a:lnTo>
                    <a:pt x="812" y="1037"/>
                  </a:lnTo>
                  <a:lnTo>
                    <a:pt x="811" y="1037"/>
                  </a:lnTo>
                  <a:lnTo>
                    <a:pt x="811" y="1037"/>
                  </a:lnTo>
                  <a:lnTo>
                    <a:pt x="811" y="1037"/>
                  </a:lnTo>
                  <a:lnTo>
                    <a:pt x="810" y="1037"/>
                  </a:lnTo>
                  <a:lnTo>
                    <a:pt x="810" y="1037"/>
                  </a:lnTo>
                  <a:lnTo>
                    <a:pt x="810" y="1037"/>
                  </a:lnTo>
                  <a:lnTo>
                    <a:pt x="810" y="1037"/>
                  </a:lnTo>
                  <a:lnTo>
                    <a:pt x="808" y="1037"/>
                  </a:lnTo>
                  <a:lnTo>
                    <a:pt x="808" y="1037"/>
                  </a:lnTo>
                  <a:lnTo>
                    <a:pt x="808" y="1037"/>
                  </a:lnTo>
                  <a:lnTo>
                    <a:pt x="807" y="1037"/>
                  </a:lnTo>
                  <a:lnTo>
                    <a:pt x="807" y="1037"/>
                  </a:lnTo>
                  <a:lnTo>
                    <a:pt x="807" y="1037"/>
                  </a:lnTo>
                  <a:lnTo>
                    <a:pt x="806" y="1037"/>
                  </a:lnTo>
                  <a:lnTo>
                    <a:pt x="806" y="1037"/>
                  </a:lnTo>
                  <a:lnTo>
                    <a:pt x="806" y="1037"/>
                  </a:lnTo>
                  <a:lnTo>
                    <a:pt x="806" y="1037"/>
                  </a:lnTo>
                  <a:lnTo>
                    <a:pt x="805" y="1037"/>
                  </a:lnTo>
                  <a:lnTo>
                    <a:pt x="805" y="1037"/>
                  </a:lnTo>
                  <a:lnTo>
                    <a:pt x="805" y="1037"/>
                  </a:lnTo>
                  <a:lnTo>
                    <a:pt x="804" y="1037"/>
                  </a:lnTo>
                  <a:lnTo>
                    <a:pt x="804" y="1037"/>
                  </a:lnTo>
                  <a:lnTo>
                    <a:pt x="804" y="1037"/>
                  </a:lnTo>
                  <a:lnTo>
                    <a:pt x="804" y="1037"/>
                  </a:lnTo>
                  <a:lnTo>
                    <a:pt x="803" y="1037"/>
                  </a:lnTo>
                  <a:lnTo>
                    <a:pt x="803" y="1037"/>
                  </a:lnTo>
                  <a:lnTo>
                    <a:pt x="803" y="1037"/>
                  </a:lnTo>
                  <a:lnTo>
                    <a:pt x="801" y="1037"/>
                  </a:lnTo>
                  <a:lnTo>
                    <a:pt x="801" y="1037"/>
                  </a:lnTo>
                  <a:lnTo>
                    <a:pt x="801" y="1037"/>
                  </a:lnTo>
                  <a:lnTo>
                    <a:pt x="801" y="1037"/>
                  </a:lnTo>
                  <a:lnTo>
                    <a:pt x="800" y="1037"/>
                  </a:lnTo>
                  <a:lnTo>
                    <a:pt x="800" y="1037"/>
                  </a:lnTo>
                  <a:lnTo>
                    <a:pt x="800" y="1037"/>
                  </a:lnTo>
                  <a:lnTo>
                    <a:pt x="799" y="1037"/>
                  </a:lnTo>
                  <a:lnTo>
                    <a:pt x="799" y="1037"/>
                  </a:lnTo>
                  <a:lnTo>
                    <a:pt x="799" y="1037"/>
                  </a:lnTo>
                  <a:lnTo>
                    <a:pt x="799" y="1037"/>
                  </a:lnTo>
                  <a:lnTo>
                    <a:pt x="798" y="1037"/>
                  </a:lnTo>
                  <a:lnTo>
                    <a:pt x="798" y="1037"/>
                  </a:lnTo>
                  <a:lnTo>
                    <a:pt x="798" y="1037"/>
                  </a:lnTo>
                  <a:lnTo>
                    <a:pt x="797" y="1037"/>
                  </a:lnTo>
                  <a:lnTo>
                    <a:pt x="797" y="1037"/>
                  </a:lnTo>
                  <a:lnTo>
                    <a:pt x="797" y="1037"/>
                  </a:lnTo>
                  <a:lnTo>
                    <a:pt x="797" y="1037"/>
                  </a:lnTo>
                  <a:lnTo>
                    <a:pt x="796" y="1037"/>
                  </a:lnTo>
                  <a:lnTo>
                    <a:pt x="796" y="1037"/>
                  </a:lnTo>
                  <a:lnTo>
                    <a:pt x="37" y="1037"/>
                  </a:lnTo>
                  <a:lnTo>
                    <a:pt x="55" y="1017"/>
                  </a:lnTo>
                  <a:close/>
                  <a:moveTo>
                    <a:pt x="2370" y="616"/>
                  </a:moveTo>
                  <a:lnTo>
                    <a:pt x="2214" y="616"/>
                  </a:lnTo>
                  <a:lnTo>
                    <a:pt x="2029" y="850"/>
                  </a:lnTo>
                  <a:lnTo>
                    <a:pt x="2012" y="870"/>
                  </a:lnTo>
                  <a:lnTo>
                    <a:pt x="1995" y="891"/>
                  </a:lnTo>
                  <a:lnTo>
                    <a:pt x="1977" y="910"/>
                  </a:lnTo>
                  <a:lnTo>
                    <a:pt x="1958" y="929"/>
                  </a:lnTo>
                  <a:lnTo>
                    <a:pt x="2001" y="929"/>
                  </a:lnTo>
                  <a:lnTo>
                    <a:pt x="2010" y="929"/>
                  </a:lnTo>
                  <a:lnTo>
                    <a:pt x="2019" y="929"/>
                  </a:lnTo>
                  <a:lnTo>
                    <a:pt x="2030" y="929"/>
                  </a:lnTo>
                  <a:lnTo>
                    <a:pt x="2039" y="929"/>
                  </a:lnTo>
                  <a:lnTo>
                    <a:pt x="2054" y="929"/>
                  </a:lnTo>
                  <a:lnTo>
                    <a:pt x="2067" y="926"/>
                  </a:lnTo>
                  <a:lnTo>
                    <a:pt x="2080" y="925"/>
                  </a:lnTo>
                  <a:lnTo>
                    <a:pt x="2093" y="922"/>
                  </a:lnTo>
                  <a:lnTo>
                    <a:pt x="2104" y="919"/>
                  </a:lnTo>
                  <a:lnTo>
                    <a:pt x="2114" y="915"/>
                  </a:lnTo>
                  <a:lnTo>
                    <a:pt x="2123" y="911"/>
                  </a:lnTo>
                  <a:lnTo>
                    <a:pt x="2133" y="907"/>
                  </a:lnTo>
                  <a:lnTo>
                    <a:pt x="2141" y="901"/>
                  </a:lnTo>
                  <a:lnTo>
                    <a:pt x="2149" y="896"/>
                  </a:lnTo>
                  <a:lnTo>
                    <a:pt x="2157" y="889"/>
                  </a:lnTo>
                  <a:lnTo>
                    <a:pt x="2164" y="883"/>
                  </a:lnTo>
                  <a:lnTo>
                    <a:pt x="2177" y="870"/>
                  </a:lnTo>
                  <a:lnTo>
                    <a:pt x="2188" y="855"/>
                  </a:lnTo>
                  <a:lnTo>
                    <a:pt x="2209" y="828"/>
                  </a:lnTo>
                  <a:lnTo>
                    <a:pt x="2230" y="801"/>
                  </a:lnTo>
                  <a:lnTo>
                    <a:pt x="2251" y="774"/>
                  </a:lnTo>
                  <a:lnTo>
                    <a:pt x="2272" y="747"/>
                  </a:lnTo>
                  <a:lnTo>
                    <a:pt x="2292" y="720"/>
                  </a:lnTo>
                  <a:lnTo>
                    <a:pt x="2313" y="693"/>
                  </a:lnTo>
                  <a:lnTo>
                    <a:pt x="2333" y="667"/>
                  </a:lnTo>
                  <a:lnTo>
                    <a:pt x="2353" y="638"/>
                  </a:lnTo>
                  <a:lnTo>
                    <a:pt x="2362" y="627"/>
                  </a:lnTo>
                  <a:lnTo>
                    <a:pt x="2370" y="616"/>
                  </a:lnTo>
                  <a:close/>
                  <a:moveTo>
                    <a:pt x="1808" y="929"/>
                  </a:moveTo>
                  <a:lnTo>
                    <a:pt x="1816" y="919"/>
                  </a:lnTo>
                  <a:lnTo>
                    <a:pt x="1825" y="909"/>
                  </a:lnTo>
                  <a:lnTo>
                    <a:pt x="1853" y="873"/>
                  </a:lnTo>
                  <a:lnTo>
                    <a:pt x="1882" y="835"/>
                  </a:lnTo>
                  <a:lnTo>
                    <a:pt x="1911" y="799"/>
                  </a:lnTo>
                  <a:lnTo>
                    <a:pt x="1940" y="763"/>
                  </a:lnTo>
                  <a:lnTo>
                    <a:pt x="1968" y="726"/>
                  </a:lnTo>
                  <a:lnTo>
                    <a:pt x="1997" y="689"/>
                  </a:lnTo>
                  <a:lnTo>
                    <a:pt x="2025" y="652"/>
                  </a:lnTo>
                  <a:lnTo>
                    <a:pt x="2053" y="616"/>
                  </a:lnTo>
                  <a:lnTo>
                    <a:pt x="1459" y="616"/>
                  </a:lnTo>
                  <a:lnTo>
                    <a:pt x="1440" y="616"/>
                  </a:lnTo>
                  <a:lnTo>
                    <a:pt x="1421" y="617"/>
                  </a:lnTo>
                  <a:lnTo>
                    <a:pt x="1404" y="620"/>
                  </a:lnTo>
                  <a:lnTo>
                    <a:pt x="1386" y="622"/>
                  </a:lnTo>
                  <a:lnTo>
                    <a:pt x="1369" y="626"/>
                  </a:lnTo>
                  <a:lnTo>
                    <a:pt x="1354" y="630"/>
                  </a:lnTo>
                  <a:lnTo>
                    <a:pt x="1337" y="636"/>
                  </a:lnTo>
                  <a:lnTo>
                    <a:pt x="1322" y="642"/>
                  </a:lnTo>
                  <a:lnTo>
                    <a:pt x="1308" y="648"/>
                  </a:lnTo>
                  <a:lnTo>
                    <a:pt x="1294" y="655"/>
                  </a:lnTo>
                  <a:lnTo>
                    <a:pt x="1281" y="663"/>
                  </a:lnTo>
                  <a:lnTo>
                    <a:pt x="1268" y="672"/>
                  </a:lnTo>
                  <a:lnTo>
                    <a:pt x="1255" y="682"/>
                  </a:lnTo>
                  <a:lnTo>
                    <a:pt x="1244" y="691"/>
                  </a:lnTo>
                  <a:lnTo>
                    <a:pt x="1232" y="702"/>
                  </a:lnTo>
                  <a:lnTo>
                    <a:pt x="1221" y="713"/>
                  </a:lnTo>
                  <a:lnTo>
                    <a:pt x="1046" y="929"/>
                  </a:lnTo>
                  <a:lnTo>
                    <a:pt x="1808" y="929"/>
                  </a:lnTo>
                  <a:close/>
                </a:path>
              </a:pathLst>
            </a:cu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5" name="Freeform 95"/>
            <p:cNvSpPr>
              <a:spLocks/>
            </p:cNvSpPr>
            <p:nvPr userDrawn="1"/>
          </p:nvSpPr>
          <p:spPr bwMode="auto">
            <a:xfrm>
              <a:off x="11177720" y="4681538"/>
              <a:ext cx="295032" cy="193675"/>
            </a:xfrm>
            <a:custGeom>
              <a:avLst/>
              <a:gdLst>
                <a:gd name="T0" fmla="*/ 275 w 451"/>
                <a:gd name="T1" fmla="*/ 0 h 367"/>
                <a:gd name="T2" fmla="*/ 451 w 451"/>
                <a:gd name="T3" fmla="*/ 0 h 367"/>
                <a:gd name="T4" fmla="*/ 161 w 451"/>
                <a:gd name="T5" fmla="*/ 367 h 367"/>
                <a:gd name="T6" fmla="*/ 0 w 451"/>
                <a:gd name="T7" fmla="*/ 367 h 367"/>
                <a:gd name="T8" fmla="*/ 35 w 451"/>
                <a:gd name="T9" fmla="*/ 322 h 367"/>
                <a:gd name="T10" fmla="*/ 70 w 451"/>
                <a:gd name="T11" fmla="*/ 276 h 367"/>
                <a:gd name="T12" fmla="*/ 106 w 451"/>
                <a:gd name="T13" fmla="*/ 230 h 367"/>
                <a:gd name="T14" fmla="*/ 139 w 451"/>
                <a:gd name="T15" fmla="*/ 185 h 367"/>
                <a:gd name="T16" fmla="*/ 175 w 451"/>
                <a:gd name="T17" fmla="*/ 138 h 367"/>
                <a:gd name="T18" fmla="*/ 209 w 451"/>
                <a:gd name="T19" fmla="*/ 92 h 367"/>
                <a:gd name="T20" fmla="*/ 242 w 451"/>
                <a:gd name="T21" fmla="*/ 45 h 367"/>
                <a:gd name="T22" fmla="*/ 275 w 451"/>
                <a:gd name="T23" fmla="*/ 0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51" h="367">
                  <a:moveTo>
                    <a:pt x="275" y="0"/>
                  </a:moveTo>
                  <a:lnTo>
                    <a:pt x="451" y="0"/>
                  </a:lnTo>
                  <a:lnTo>
                    <a:pt x="161" y="367"/>
                  </a:lnTo>
                  <a:lnTo>
                    <a:pt x="0" y="367"/>
                  </a:lnTo>
                  <a:lnTo>
                    <a:pt x="35" y="322"/>
                  </a:lnTo>
                  <a:lnTo>
                    <a:pt x="70" y="276"/>
                  </a:lnTo>
                  <a:lnTo>
                    <a:pt x="106" y="230"/>
                  </a:lnTo>
                  <a:lnTo>
                    <a:pt x="139" y="185"/>
                  </a:lnTo>
                  <a:lnTo>
                    <a:pt x="175" y="138"/>
                  </a:lnTo>
                  <a:lnTo>
                    <a:pt x="209" y="92"/>
                  </a:lnTo>
                  <a:lnTo>
                    <a:pt x="242" y="45"/>
                  </a:lnTo>
                  <a:lnTo>
                    <a:pt x="275" y="0"/>
                  </a:ln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6" name="Freeform 96"/>
            <p:cNvSpPr>
              <a:spLocks noEditPoints="1"/>
            </p:cNvSpPr>
            <p:nvPr userDrawn="1"/>
          </p:nvSpPr>
          <p:spPr bwMode="auto">
            <a:xfrm>
              <a:off x="10472386" y="4806954"/>
              <a:ext cx="1256324" cy="246063"/>
            </a:xfrm>
            <a:custGeom>
              <a:avLst/>
              <a:gdLst>
                <a:gd name="T0" fmla="*/ 1414 w 1930"/>
                <a:gd name="T1" fmla="*/ 115 h 464"/>
                <a:gd name="T2" fmla="*/ 1437 w 1930"/>
                <a:gd name="T3" fmla="*/ 88 h 464"/>
                <a:gd name="T4" fmla="*/ 1461 w 1930"/>
                <a:gd name="T5" fmla="*/ 66 h 464"/>
                <a:gd name="T6" fmla="*/ 1485 w 1930"/>
                <a:gd name="T7" fmla="*/ 46 h 464"/>
                <a:gd name="T8" fmla="*/ 1510 w 1930"/>
                <a:gd name="T9" fmla="*/ 29 h 464"/>
                <a:gd name="T10" fmla="*/ 1535 w 1930"/>
                <a:gd name="T11" fmla="*/ 17 h 464"/>
                <a:gd name="T12" fmla="*/ 1560 w 1930"/>
                <a:gd name="T13" fmla="*/ 7 h 464"/>
                <a:gd name="T14" fmla="*/ 1587 w 1930"/>
                <a:gd name="T15" fmla="*/ 1 h 464"/>
                <a:gd name="T16" fmla="*/ 1641 w 1930"/>
                <a:gd name="T17" fmla="*/ 0 h 464"/>
                <a:gd name="T18" fmla="*/ 1724 w 1930"/>
                <a:gd name="T19" fmla="*/ 0 h 464"/>
                <a:gd name="T20" fmla="*/ 1806 w 1930"/>
                <a:gd name="T21" fmla="*/ 0 h 464"/>
                <a:gd name="T22" fmla="*/ 1889 w 1930"/>
                <a:gd name="T23" fmla="*/ 0 h 464"/>
                <a:gd name="T24" fmla="*/ 1930 w 1930"/>
                <a:gd name="T25" fmla="*/ 3 h 464"/>
                <a:gd name="T26" fmla="*/ 1930 w 1930"/>
                <a:gd name="T27" fmla="*/ 6 h 464"/>
                <a:gd name="T28" fmla="*/ 1930 w 1930"/>
                <a:gd name="T29" fmla="*/ 10 h 464"/>
                <a:gd name="T30" fmla="*/ 1930 w 1930"/>
                <a:gd name="T31" fmla="*/ 14 h 464"/>
                <a:gd name="T32" fmla="*/ 1930 w 1930"/>
                <a:gd name="T33" fmla="*/ 17 h 464"/>
                <a:gd name="T34" fmla="*/ 1930 w 1930"/>
                <a:gd name="T35" fmla="*/ 20 h 464"/>
                <a:gd name="T36" fmla="*/ 1930 w 1930"/>
                <a:gd name="T37" fmla="*/ 25 h 464"/>
                <a:gd name="T38" fmla="*/ 1930 w 1930"/>
                <a:gd name="T39" fmla="*/ 28 h 464"/>
                <a:gd name="T40" fmla="*/ 1930 w 1930"/>
                <a:gd name="T41" fmla="*/ 32 h 464"/>
                <a:gd name="T42" fmla="*/ 1930 w 1930"/>
                <a:gd name="T43" fmla="*/ 37 h 464"/>
                <a:gd name="T44" fmla="*/ 1930 w 1930"/>
                <a:gd name="T45" fmla="*/ 39 h 464"/>
                <a:gd name="T46" fmla="*/ 1930 w 1930"/>
                <a:gd name="T47" fmla="*/ 44 h 464"/>
                <a:gd name="T48" fmla="*/ 1930 w 1930"/>
                <a:gd name="T49" fmla="*/ 47 h 464"/>
                <a:gd name="T50" fmla="*/ 1930 w 1930"/>
                <a:gd name="T51" fmla="*/ 51 h 464"/>
                <a:gd name="T52" fmla="*/ 1930 w 1930"/>
                <a:gd name="T53" fmla="*/ 55 h 464"/>
                <a:gd name="T54" fmla="*/ 1930 w 1930"/>
                <a:gd name="T55" fmla="*/ 59 h 464"/>
                <a:gd name="T56" fmla="*/ 1930 w 1930"/>
                <a:gd name="T57" fmla="*/ 61 h 464"/>
                <a:gd name="T58" fmla="*/ 1930 w 1930"/>
                <a:gd name="T59" fmla="*/ 67 h 464"/>
                <a:gd name="T60" fmla="*/ 1930 w 1930"/>
                <a:gd name="T61" fmla="*/ 70 h 464"/>
                <a:gd name="T62" fmla="*/ 1930 w 1930"/>
                <a:gd name="T63" fmla="*/ 73 h 464"/>
                <a:gd name="T64" fmla="*/ 1930 w 1930"/>
                <a:gd name="T65" fmla="*/ 77 h 464"/>
                <a:gd name="T66" fmla="*/ 1930 w 1930"/>
                <a:gd name="T67" fmla="*/ 81 h 464"/>
                <a:gd name="T68" fmla="*/ 1930 w 1930"/>
                <a:gd name="T69" fmla="*/ 85 h 464"/>
                <a:gd name="T70" fmla="*/ 1930 w 1930"/>
                <a:gd name="T71" fmla="*/ 89 h 464"/>
                <a:gd name="T72" fmla="*/ 1930 w 1930"/>
                <a:gd name="T73" fmla="*/ 93 h 464"/>
                <a:gd name="T74" fmla="*/ 1930 w 1930"/>
                <a:gd name="T75" fmla="*/ 95 h 464"/>
                <a:gd name="T76" fmla="*/ 1930 w 1930"/>
                <a:gd name="T77" fmla="*/ 101 h 464"/>
                <a:gd name="T78" fmla="*/ 1930 w 1930"/>
                <a:gd name="T79" fmla="*/ 103 h 464"/>
                <a:gd name="T80" fmla="*/ 1930 w 1930"/>
                <a:gd name="T81" fmla="*/ 107 h 464"/>
                <a:gd name="T82" fmla="*/ 1930 w 1930"/>
                <a:gd name="T83" fmla="*/ 113 h 464"/>
                <a:gd name="T84" fmla="*/ 1930 w 1930"/>
                <a:gd name="T85" fmla="*/ 115 h 464"/>
                <a:gd name="T86" fmla="*/ 1930 w 1930"/>
                <a:gd name="T87" fmla="*/ 118 h 464"/>
                <a:gd name="T88" fmla="*/ 1930 w 1930"/>
                <a:gd name="T89" fmla="*/ 123 h 464"/>
                <a:gd name="T90" fmla="*/ 1930 w 1930"/>
                <a:gd name="T91" fmla="*/ 127 h 464"/>
                <a:gd name="T92" fmla="*/ 1930 w 1930"/>
                <a:gd name="T93" fmla="*/ 130 h 464"/>
                <a:gd name="T94" fmla="*/ 62 w 1930"/>
                <a:gd name="T95" fmla="*/ 464 h 464"/>
                <a:gd name="T96" fmla="*/ 10 w 1930"/>
                <a:gd name="T97" fmla="*/ 453 h 464"/>
                <a:gd name="T98" fmla="*/ 78 w 1930"/>
                <a:gd name="T99" fmla="*/ 443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930" h="464">
                  <a:moveTo>
                    <a:pt x="1402" y="130"/>
                  </a:moveTo>
                  <a:lnTo>
                    <a:pt x="1414" y="115"/>
                  </a:lnTo>
                  <a:lnTo>
                    <a:pt x="1426" y="101"/>
                  </a:lnTo>
                  <a:lnTo>
                    <a:pt x="1437" y="88"/>
                  </a:lnTo>
                  <a:lnTo>
                    <a:pt x="1449" y="76"/>
                  </a:lnTo>
                  <a:lnTo>
                    <a:pt x="1461" y="66"/>
                  </a:lnTo>
                  <a:lnTo>
                    <a:pt x="1473" y="55"/>
                  </a:lnTo>
                  <a:lnTo>
                    <a:pt x="1485" y="46"/>
                  </a:lnTo>
                  <a:lnTo>
                    <a:pt x="1497" y="38"/>
                  </a:lnTo>
                  <a:lnTo>
                    <a:pt x="1510" y="29"/>
                  </a:lnTo>
                  <a:lnTo>
                    <a:pt x="1522" y="22"/>
                  </a:lnTo>
                  <a:lnTo>
                    <a:pt x="1535" y="17"/>
                  </a:lnTo>
                  <a:lnTo>
                    <a:pt x="1547" y="12"/>
                  </a:lnTo>
                  <a:lnTo>
                    <a:pt x="1560" y="7"/>
                  </a:lnTo>
                  <a:lnTo>
                    <a:pt x="1573" y="4"/>
                  </a:lnTo>
                  <a:lnTo>
                    <a:pt x="1587" y="1"/>
                  </a:lnTo>
                  <a:lnTo>
                    <a:pt x="1600" y="0"/>
                  </a:lnTo>
                  <a:lnTo>
                    <a:pt x="1641" y="0"/>
                  </a:lnTo>
                  <a:lnTo>
                    <a:pt x="1682" y="0"/>
                  </a:lnTo>
                  <a:lnTo>
                    <a:pt x="1724" y="0"/>
                  </a:lnTo>
                  <a:lnTo>
                    <a:pt x="1765" y="0"/>
                  </a:lnTo>
                  <a:lnTo>
                    <a:pt x="1806" y="0"/>
                  </a:lnTo>
                  <a:lnTo>
                    <a:pt x="1847" y="0"/>
                  </a:lnTo>
                  <a:lnTo>
                    <a:pt x="1889" y="0"/>
                  </a:lnTo>
                  <a:lnTo>
                    <a:pt x="1930" y="0"/>
                  </a:lnTo>
                  <a:lnTo>
                    <a:pt x="1930" y="3"/>
                  </a:lnTo>
                  <a:lnTo>
                    <a:pt x="1930" y="4"/>
                  </a:lnTo>
                  <a:lnTo>
                    <a:pt x="1930" y="6"/>
                  </a:lnTo>
                  <a:lnTo>
                    <a:pt x="1930" y="8"/>
                  </a:lnTo>
                  <a:lnTo>
                    <a:pt x="1930" y="10"/>
                  </a:lnTo>
                  <a:lnTo>
                    <a:pt x="1930" y="11"/>
                  </a:lnTo>
                  <a:lnTo>
                    <a:pt x="1930" y="14"/>
                  </a:lnTo>
                  <a:lnTo>
                    <a:pt x="1930" y="14"/>
                  </a:lnTo>
                  <a:lnTo>
                    <a:pt x="1930" y="17"/>
                  </a:lnTo>
                  <a:lnTo>
                    <a:pt x="1930" y="20"/>
                  </a:lnTo>
                  <a:lnTo>
                    <a:pt x="1930" y="20"/>
                  </a:lnTo>
                  <a:lnTo>
                    <a:pt x="1930" y="22"/>
                  </a:lnTo>
                  <a:lnTo>
                    <a:pt x="1930" y="25"/>
                  </a:lnTo>
                  <a:lnTo>
                    <a:pt x="1930" y="26"/>
                  </a:lnTo>
                  <a:lnTo>
                    <a:pt x="1930" y="28"/>
                  </a:lnTo>
                  <a:lnTo>
                    <a:pt x="1930" y="31"/>
                  </a:lnTo>
                  <a:lnTo>
                    <a:pt x="1930" y="32"/>
                  </a:lnTo>
                  <a:lnTo>
                    <a:pt x="1930" y="34"/>
                  </a:lnTo>
                  <a:lnTo>
                    <a:pt x="1930" y="37"/>
                  </a:lnTo>
                  <a:lnTo>
                    <a:pt x="1930" y="38"/>
                  </a:lnTo>
                  <a:lnTo>
                    <a:pt x="1930" y="39"/>
                  </a:lnTo>
                  <a:lnTo>
                    <a:pt x="1930" y="42"/>
                  </a:lnTo>
                  <a:lnTo>
                    <a:pt x="1930" y="44"/>
                  </a:lnTo>
                  <a:lnTo>
                    <a:pt x="1930" y="45"/>
                  </a:lnTo>
                  <a:lnTo>
                    <a:pt x="1930" y="47"/>
                  </a:lnTo>
                  <a:lnTo>
                    <a:pt x="1930" y="49"/>
                  </a:lnTo>
                  <a:lnTo>
                    <a:pt x="1930" y="51"/>
                  </a:lnTo>
                  <a:lnTo>
                    <a:pt x="1930" y="53"/>
                  </a:lnTo>
                  <a:lnTo>
                    <a:pt x="1930" y="55"/>
                  </a:lnTo>
                  <a:lnTo>
                    <a:pt x="1930" y="56"/>
                  </a:lnTo>
                  <a:lnTo>
                    <a:pt x="1930" y="59"/>
                  </a:lnTo>
                  <a:lnTo>
                    <a:pt x="1930" y="61"/>
                  </a:lnTo>
                  <a:lnTo>
                    <a:pt x="1930" y="61"/>
                  </a:lnTo>
                  <a:lnTo>
                    <a:pt x="1930" y="65"/>
                  </a:lnTo>
                  <a:lnTo>
                    <a:pt x="1930" y="67"/>
                  </a:lnTo>
                  <a:lnTo>
                    <a:pt x="1930" y="67"/>
                  </a:lnTo>
                  <a:lnTo>
                    <a:pt x="1930" y="70"/>
                  </a:lnTo>
                  <a:lnTo>
                    <a:pt x="1930" y="72"/>
                  </a:lnTo>
                  <a:lnTo>
                    <a:pt x="1930" y="73"/>
                  </a:lnTo>
                  <a:lnTo>
                    <a:pt x="1930" y="75"/>
                  </a:lnTo>
                  <a:lnTo>
                    <a:pt x="1930" y="77"/>
                  </a:lnTo>
                  <a:lnTo>
                    <a:pt x="1930" y="79"/>
                  </a:lnTo>
                  <a:lnTo>
                    <a:pt x="1930" y="81"/>
                  </a:lnTo>
                  <a:lnTo>
                    <a:pt x="1930" y="83"/>
                  </a:lnTo>
                  <a:lnTo>
                    <a:pt x="1930" y="85"/>
                  </a:lnTo>
                  <a:lnTo>
                    <a:pt x="1930" y="87"/>
                  </a:lnTo>
                  <a:lnTo>
                    <a:pt x="1930" y="89"/>
                  </a:lnTo>
                  <a:lnTo>
                    <a:pt x="1930" y="89"/>
                  </a:lnTo>
                  <a:lnTo>
                    <a:pt x="1930" y="93"/>
                  </a:lnTo>
                  <a:lnTo>
                    <a:pt x="1930" y="95"/>
                  </a:lnTo>
                  <a:lnTo>
                    <a:pt x="1930" y="95"/>
                  </a:lnTo>
                  <a:lnTo>
                    <a:pt x="1930" y="99"/>
                  </a:lnTo>
                  <a:lnTo>
                    <a:pt x="1930" y="101"/>
                  </a:lnTo>
                  <a:lnTo>
                    <a:pt x="1930" y="101"/>
                  </a:lnTo>
                  <a:lnTo>
                    <a:pt x="1930" y="103"/>
                  </a:lnTo>
                  <a:lnTo>
                    <a:pt x="1930" y="107"/>
                  </a:lnTo>
                  <a:lnTo>
                    <a:pt x="1930" y="107"/>
                  </a:lnTo>
                  <a:lnTo>
                    <a:pt x="1930" y="109"/>
                  </a:lnTo>
                  <a:lnTo>
                    <a:pt x="1930" y="113"/>
                  </a:lnTo>
                  <a:lnTo>
                    <a:pt x="1930" y="113"/>
                  </a:lnTo>
                  <a:lnTo>
                    <a:pt x="1930" y="115"/>
                  </a:lnTo>
                  <a:lnTo>
                    <a:pt x="1930" y="117"/>
                  </a:lnTo>
                  <a:lnTo>
                    <a:pt x="1930" y="118"/>
                  </a:lnTo>
                  <a:lnTo>
                    <a:pt x="1930" y="121"/>
                  </a:lnTo>
                  <a:lnTo>
                    <a:pt x="1930" y="123"/>
                  </a:lnTo>
                  <a:lnTo>
                    <a:pt x="1930" y="124"/>
                  </a:lnTo>
                  <a:lnTo>
                    <a:pt x="1930" y="127"/>
                  </a:lnTo>
                  <a:lnTo>
                    <a:pt x="1930" y="129"/>
                  </a:lnTo>
                  <a:lnTo>
                    <a:pt x="1930" y="130"/>
                  </a:lnTo>
                  <a:lnTo>
                    <a:pt x="1402" y="130"/>
                  </a:lnTo>
                  <a:close/>
                  <a:moveTo>
                    <a:pt x="62" y="464"/>
                  </a:moveTo>
                  <a:lnTo>
                    <a:pt x="0" y="464"/>
                  </a:lnTo>
                  <a:lnTo>
                    <a:pt x="10" y="453"/>
                  </a:lnTo>
                  <a:lnTo>
                    <a:pt x="19" y="443"/>
                  </a:lnTo>
                  <a:lnTo>
                    <a:pt x="78" y="443"/>
                  </a:lnTo>
                  <a:lnTo>
                    <a:pt x="62" y="464"/>
                  </a:ln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7" name="Freeform 97"/>
            <p:cNvSpPr>
              <a:spLocks/>
            </p:cNvSpPr>
            <p:nvPr userDrawn="1"/>
          </p:nvSpPr>
          <p:spPr bwMode="auto">
            <a:xfrm>
              <a:off x="11005785" y="5041905"/>
              <a:ext cx="111369" cy="11113"/>
            </a:xfrm>
            <a:custGeom>
              <a:avLst/>
              <a:gdLst>
                <a:gd name="T0" fmla="*/ 149 w 170"/>
                <a:gd name="T1" fmla="*/ 21 h 21"/>
                <a:gd name="T2" fmla="*/ 0 w 170"/>
                <a:gd name="T3" fmla="*/ 21 h 21"/>
                <a:gd name="T4" fmla="*/ 9 w 170"/>
                <a:gd name="T5" fmla="*/ 10 h 21"/>
                <a:gd name="T6" fmla="*/ 20 w 170"/>
                <a:gd name="T7" fmla="*/ 0 h 21"/>
                <a:gd name="T8" fmla="*/ 170 w 170"/>
                <a:gd name="T9" fmla="*/ 0 h 21"/>
                <a:gd name="T10" fmla="*/ 160 w 170"/>
                <a:gd name="T11" fmla="*/ 10 h 21"/>
                <a:gd name="T12" fmla="*/ 149 w 170"/>
                <a:gd name="T13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0" h="21">
                  <a:moveTo>
                    <a:pt x="149" y="21"/>
                  </a:moveTo>
                  <a:lnTo>
                    <a:pt x="0" y="21"/>
                  </a:lnTo>
                  <a:lnTo>
                    <a:pt x="9" y="10"/>
                  </a:lnTo>
                  <a:lnTo>
                    <a:pt x="20" y="0"/>
                  </a:lnTo>
                  <a:lnTo>
                    <a:pt x="170" y="0"/>
                  </a:lnTo>
                  <a:lnTo>
                    <a:pt x="160" y="10"/>
                  </a:lnTo>
                  <a:lnTo>
                    <a:pt x="149" y="21"/>
                  </a:ln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8" name="Freeform 98"/>
            <p:cNvSpPr>
              <a:spLocks/>
            </p:cNvSpPr>
            <p:nvPr userDrawn="1"/>
          </p:nvSpPr>
          <p:spPr bwMode="auto">
            <a:xfrm>
              <a:off x="9890140" y="4857750"/>
              <a:ext cx="1838569" cy="217488"/>
            </a:xfrm>
            <a:custGeom>
              <a:avLst/>
              <a:gdLst>
                <a:gd name="T0" fmla="*/ 2374 w 2823"/>
                <a:gd name="T1" fmla="*/ 390 h 410"/>
                <a:gd name="T2" fmla="*/ 2385 w 2823"/>
                <a:gd name="T3" fmla="*/ 390 h 410"/>
                <a:gd name="T4" fmla="*/ 2397 w 2823"/>
                <a:gd name="T5" fmla="*/ 390 h 410"/>
                <a:gd name="T6" fmla="*/ 2425 w 2823"/>
                <a:gd name="T7" fmla="*/ 390 h 410"/>
                <a:gd name="T8" fmla="*/ 2451 w 2823"/>
                <a:gd name="T9" fmla="*/ 388 h 410"/>
                <a:gd name="T10" fmla="*/ 2474 w 2823"/>
                <a:gd name="T11" fmla="*/ 384 h 410"/>
                <a:gd name="T12" fmla="*/ 2497 w 2823"/>
                <a:gd name="T13" fmla="*/ 379 h 410"/>
                <a:gd name="T14" fmla="*/ 2506 w 2823"/>
                <a:gd name="T15" fmla="*/ 376 h 410"/>
                <a:gd name="T16" fmla="*/ 2515 w 2823"/>
                <a:gd name="T17" fmla="*/ 372 h 410"/>
                <a:gd name="T18" fmla="*/ 2525 w 2823"/>
                <a:gd name="T19" fmla="*/ 368 h 410"/>
                <a:gd name="T20" fmla="*/ 2533 w 2823"/>
                <a:gd name="T21" fmla="*/ 363 h 410"/>
                <a:gd name="T22" fmla="*/ 2541 w 2823"/>
                <a:gd name="T23" fmla="*/ 358 h 410"/>
                <a:gd name="T24" fmla="*/ 2549 w 2823"/>
                <a:gd name="T25" fmla="*/ 352 h 410"/>
                <a:gd name="T26" fmla="*/ 2555 w 2823"/>
                <a:gd name="T27" fmla="*/ 346 h 410"/>
                <a:gd name="T28" fmla="*/ 2562 w 2823"/>
                <a:gd name="T29" fmla="*/ 340 h 410"/>
                <a:gd name="T30" fmla="*/ 2595 w 2823"/>
                <a:gd name="T31" fmla="*/ 297 h 410"/>
                <a:gd name="T32" fmla="*/ 2628 w 2823"/>
                <a:gd name="T33" fmla="*/ 254 h 410"/>
                <a:gd name="T34" fmla="*/ 2660 w 2823"/>
                <a:gd name="T35" fmla="*/ 212 h 410"/>
                <a:gd name="T36" fmla="*/ 2692 w 2823"/>
                <a:gd name="T37" fmla="*/ 170 h 410"/>
                <a:gd name="T38" fmla="*/ 2725 w 2823"/>
                <a:gd name="T39" fmla="*/ 128 h 410"/>
                <a:gd name="T40" fmla="*/ 2757 w 2823"/>
                <a:gd name="T41" fmla="*/ 86 h 410"/>
                <a:gd name="T42" fmla="*/ 2790 w 2823"/>
                <a:gd name="T43" fmla="*/ 43 h 410"/>
                <a:gd name="T44" fmla="*/ 2823 w 2823"/>
                <a:gd name="T45" fmla="*/ 0 h 410"/>
                <a:gd name="T46" fmla="*/ 2823 w 2823"/>
                <a:gd name="T47" fmla="*/ 28 h 410"/>
                <a:gd name="T48" fmla="*/ 2823 w 2823"/>
                <a:gd name="T49" fmla="*/ 55 h 410"/>
                <a:gd name="T50" fmla="*/ 2823 w 2823"/>
                <a:gd name="T51" fmla="*/ 82 h 410"/>
                <a:gd name="T52" fmla="*/ 2823 w 2823"/>
                <a:gd name="T53" fmla="*/ 110 h 410"/>
                <a:gd name="T54" fmla="*/ 2823 w 2823"/>
                <a:gd name="T55" fmla="*/ 137 h 410"/>
                <a:gd name="T56" fmla="*/ 2823 w 2823"/>
                <a:gd name="T57" fmla="*/ 164 h 410"/>
                <a:gd name="T58" fmla="*/ 2823 w 2823"/>
                <a:gd name="T59" fmla="*/ 192 h 410"/>
                <a:gd name="T60" fmla="*/ 2823 w 2823"/>
                <a:gd name="T61" fmla="*/ 219 h 410"/>
                <a:gd name="T62" fmla="*/ 2804 w 2823"/>
                <a:gd name="T63" fmla="*/ 245 h 410"/>
                <a:gd name="T64" fmla="*/ 2786 w 2823"/>
                <a:gd name="T65" fmla="*/ 270 h 410"/>
                <a:gd name="T66" fmla="*/ 2768 w 2823"/>
                <a:gd name="T67" fmla="*/ 294 h 410"/>
                <a:gd name="T68" fmla="*/ 2749 w 2823"/>
                <a:gd name="T69" fmla="*/ 320 h 410"/>
                <a:gd name="T70" fmla="*/ 2738 w 2823"/>
                <a:gd name="T71" fmla="*/ 333 h 410"/>
                <a:gd name="T72" fmla="*/ 2727 w 2823"/>
                <a:gd name="T73" fmla="*/ 345 h 410"/>
                <a:gd name="T74" fmla="*/ 2717 w 2823"/>
                <a:gd name="T75" fmla="*/ 355 h 410"/>
                <a:gd name="T76" fmla="*/ 2705 w 2823"/>
                <a:gd name="T77" fmla="*/ 365 h 410"/>
                <a:gd name="T78" fmla="*/ 2694 w 2823"/>
                <a:gd name="T79" fmla="*/ 373 h 410"/>
                <a:gd name="T80" fmla="*/ 2683 w 2823"/>
                <a:gd name="T81" fmla="*/ 380 h 410"/>
                <a:gd name="T82" fmla="*/ 2672 w 2823"/>
                <a:gd name="T83" fmla="*/ 387 h 410"/>
                <a:gd name="T84" fmla="*/ 2660 w 2823"/>
                <a:gd name="T85" fmla="*/ 393 h 410"/>
                <a:gd name="T86" fmla="*/ 2649 w 2823"/>
                <a:gd name="T87" fmla="*/ 397 h 410"/>
                <a:gd name="T88" fmla="*/ 2637 w 2823"/>
                <a:gd name="T89" fmla="*/ 401 h 410"/>
                <a:gd name="T90" fmla="*/ 2625 w 2823"/>
                <a:gd name="T91" fmla="*/ 404 h 410"/>
                <a:gd name="T92" fmla="*/ 2614 w 2823"/>
                <a:gd name="T93" fmla="*/ 407 h 410"/>
                <a:gd name="T94" fmla="*/ 2590 w 2823"/>
                <a:gd name="T95" fmla="*/ 409 h 410"/>
                <a:gd name="T96" fmla="*/ 2567 w 2823"/>
                <a:gd name="T97" fmla="*/ 410 h 410"/>
                <a:gd name="T98" fmla="*/ 2523 w 2823"/>
                <a:gd name="T99" fmla="*/ 410 h 410"/>
                <a:gd name="T100" fmla="*/ 2481 w 2823"/>
                <a:gd name="T101" fmla="*/ 410 h 410"/>
                <a:gd name="T102" fmla="*/ 2439 w 2823"/>
                <a:gd name="T103" fmla="*/ 410 h 410"/>
                <a:gd name="T104" fmla="*/ 2397 w 2823"/>
                <a:gd name="T105" fmla="*/ 410 h 410"/>
                <a:gd name="T106" fmla="*/ 2387 w 2823"/>
                <a:gd name="T107" fmla="*/ 410 h 410"/>
                <a:gd name="T108" fmla="*/ 2375 w 2823"/>
                <a:gd name="T109" fmla="*/ 410 h 410"/>
                <a:gd name="T110" fmla="*/ 0 w 2823"/>
                <a:gd name="T111" fmla="*/ 410 h 410"/>
                <a:gd name="T112" fmla="*/ 17 w 2823"/>
                <a:gd name="T113" fmla="*/ 390 h 410"/>
                <a:gd name="T114" fmla="*/ 2374 w 2823"/>
                <a:gd name="T115" fmla="*/ 390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23" h="410">
                  <a:moveTo>
                    <a:pt x="2374" y="390"/>
                  </a:moveTo>
                  <a:lnTo>
                    <a:pt x="2385" y="390"/>
                  </a:lnTo>
                  <a:lnTo>
                    <a:pt x="2397" y="390"/>
                  </a:lnTo>
                  <a:lnTo>
                    <a:pt x="2425" y="390"/>
                  </a:lnTo>
                  <a:lnTo>
                    <a:pt x="2451" y="388"/>
                  </a:lnTo>
                  <a:lnTo>
                    <a:pt x="2474" y="384"/>
                  </a:lnTo>
                  <a:lnTo>
                    <a:pt x="2497" y="379"/>
                  </a:lnTo>
                  <a:lnTo>
                    <a:pt x="2506" y="376"/>
                  </a:lnTo>
                  <a:lnTo>
                    <a:pt x="2515" y="372"/>
                  </a:lnTo>
                  <a:lnTo>
                    <a:pt x="2525" y="368"/>
                  </a:lnTo>
                  <a:lnTo>
                    <a:pt x="2533" y="363"/>
                  </a:lnTo>
                  <a:lnTo>
                    <a:pt x="2541" y="358"/>
                  </a:lnTo>
                  <a:lnTo>
                    <a:pt x="2549" y="352"/>
                  </a:lnTo>
                  <a:lnTo>
                    <a:pt x="2555" y="346"/>
                  </a:lnTo>
                  <a:lnTo>
                    <a:pt x="2562" y="340"/>
                  </a:lnTo>
                  <a:lnTo>
                    <a:pt x="2595" y="297"/>
                  </a:lnTo>
                  <a:lnTo>
                    <a:pt x="2628" y="254"/>
                  </a:lnTo>
                  <a:lnTo>
                    <a:pt x="2660" y="212"/>
                  </a:lnTo>
                  <a:lnTo>
                    <a:pt x="2692" y="170"/>
                  </a:lnTo>
                  <a:lnTo>
                    <a:pt x="2725" y="128"/>
                  </a:lnTo>
                  <a:lnTo>
                    <a:pt x="2757" y="86"/>
                  </a:lnTo>
                  <a:lnTo>
                    <a:pt x="2790" y="43"/>
                  </a:lnTo>
                  <a:lnTo>
                    <a:pt x="2823" y="0"/>
                  </a:lnTo>
                  <a:lnTo>
                    <a:pt x="2823" y="28"/>
                  </a:lnTo>
                  <a:lnTo>
                    <a:pt x="2823" y="55"/>
                  </a:lnTo>
                  <a:lnTo>
                    <a:pt x="2823" y="82"/>
                  </a:lnTo>
                  <a:lnTo>
                    <a:pt x="2823" y="110"/>
                  </a:lnTo>
                  <a:lnTo>
                    <a:pt x="2823" y="137"/>
                  </a:lnTo>
                  <a:lnTo>
                    <a:pt x="2823" y="164"/>
                  </a:lnTo>
                  <a:lnTo>
                    <a:pt x="2823" y="192"/>
                  </a:lnTo>
                  <a:lnTo>
                    <a:pt x="2823" y="219"/>
                  </a:lnTo>
                  <a:lnTo>
                    <a:pt x="2804" y="245"/>
                  </a:lnTo>
                  <a:lnTo>
                    <a:pt x="2786" y="270"/>
                  </a:lnTo>
                  <a:lnTo>
                    <a:pt x="2768" y="294"/>
                  </a:lnTo>
                  <a:lnTo>
                    <a:pt x="2749" y="320"/>
                  </a:lnTo>
                  <a:lnTo>
                    <a:pt x="2738" y="333"/>
                  </a:lnTo>
                  <a:lnTo>
                    <a:pt x="2727" y="345"/>
                  </a:lnTo>
                  <a:lnTo>
                    <a:pt x="2717" y="355"/>
                  </a:lnTo>
                  <a:lnTo>
                    <a:pt x="2705" y="365"/>
                  </a:lnTo>
                  <a:lnTo>
                    <a:pt x="2694" y="373"/>
                  </a:lnTo>
                  <a:lnTo>
                    <a:pt x="2683" y="380"/>
                  </a:lnTo>
                  <a:lnTo>
                    <a:pt x="2672" y="387"/>
                  </a:lnTo>
                  <a:lnTo>
                    <a:pt x="2660" y="393"/>
                  </a:lnTo>
                  <a:lnTo>
                    <a:pt x="2649" y="397"/>
                  </a:lnTo>
                  <a:lnTo>
                    <a:pt x="2637" y="401"/>
                  </a:lnTo>
                  <a:lnTo>
                    <a:pt x="2625" y="404"/>
                  </a:lnTo>
                  <a:lnTo>
                    <a:pt x="2614" y="407"/>
                  </a:lnTo>
                  <a:lnTo>
                    <a:pt x="2590" y="409"/>
                  </a:lnTo>
                  <a:lnTo>
                    <a:pt x="2567" y="410"/>
                  </a:lnTo>
                  <a:lnTo>
                    <a:pt x="2523" y="410"/>
                  </a:lnTo>
                  <a:lnTo>
                    <a:pt x="2481" y="410"/>
                  </a:lnTo>
                  <a:lnTo>
                    <a:pt x="2439" y="410"/>
                  </a:lnTo>
                  <a:lnTo>
                    <a:pt x="2397" y="410"/>
                  </a:lnTo>
                  <a:lnTo>
                    <a:pt x="2387" y="410"/>
                  </a:lnTo>
                  <a:lnTo>
                    <a:pt x="2375" y="410"/>
                  </a:lnTo>
                  <a:lnTo>
                    <a:pt x="0" y="410"/>
                  </a:lnTo>
                  <a:lnTo>
                    <a:pt x="17" y="390"/>
                  </a:lnTo>
                  <a:lnTo>
                    <a:pt x="2374" y="39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19" name="Номер слайда 23"/>
          <p:cNvSpPr>
            <a:spLocks noGrp="1"/>
          </p:cNvSpPr>
          <p:nvPr userDrawn="1">
            <p:ph type="sldNum" sz="quarter" idx="4"/>
          </p:nvPr>
        </p:nvSpPr>
        <p:spPr>
          <a:xfrm>
            <a:off x="8354516" y="4815046"/>
            <a:ext cx="576064" cy="267494"/>
          </a:xfrm>
          <a:prstGeom prst="rect">
            <a:avLst/>
          </a:prstGeom>
        </p:spPr>
        <p:txBody>
          <a:bodyPr/>
          <a:lstStyle>
            <a:lvl1pPr marL="0" algn="r" defTabSz="519371" rtl="0" eaLnBrk="1" latinLnBrk="0" hangingPunct="1">
              <a:defRPr lang="ru-RU" sz="1400" b="1" kern="1200" smtClean="0">
                <a:solidFill>
                  <a:srgbClr val="E21A1A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97AB2056-D4F9-4782-8969-B182112ED6BA}" type="slidenum">
              <a:rPr/>
              <a:pPr>
                <a:defRPr/>
              </a:pPr>
              <a:t>‹#›</a:t>
            </a:fld>
            <a:endParaRPr dirty="0"/>
          </a:p>
        </p:txBody>
      </p:sp>
      <p:cxnSp>
        <p:nvCxnSpPr>
          <p:cNvPr id="20" name="Прямая соединительная линия 19"/>
          <p:cNvCxnSpPr/>
          <p:nvPr userDrawn="1"/>
        </p:nvCxnSpPr>
        <p:spPr>
          <a:xfrm>
            <a:off x="0" y="5088602"/>
            <a:ext cx="7740352" cy="0"/>
          </a:xfrm>
          <a:prstGeom prst="line">
            <a:avLst/>
          </a:prstGeom>
          <a:ln w="95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9"/>
          <p:cNvGrpSpPr>
            <a:grpSpLocks noChangeAspect="1"/>
          </p:cNvGrpSpPr>
          <p:nvPr userDrawn="1"/>
        </p:nvGrpSpPr>
        <p:grpSpPr bwMode="auto">
          <a:xfrm>
            <a:off x="7778452" y="4887818"/>
            <a:ext cx="520293" cy="231737"/>
            <a:chOff x="5121" y="2970"/>
            <a:chExt cx="467" cy="208"/>
          </a:xfrm>
        </p:grpSpPr>
        <p:sp>
          <p:nvSpPr>
            <p:cNvPr id="22" name="AutoShape 8"/>
            <p:cNvSpPr>
              <a:spLocks noChangeAspect="1" noChangeArrowheads="1" noTextEdit="1"/>
            </p:cNvSpPr>
            <p:nvPr userDrawn="1"/>
          </p:nvSpPr>
          <p:spPr bwMode="auto">
            <a:xfrm>
              <a:off x="5121" y="2970"/>
              <a:ext cx="467" cy="2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3" name="Freeform 10"/>
            <p:cNvSpPr>
              <a:spLocks/>
            </p:cNvSpPr>
            <p:nvPr userDrawn="1"/>
          </p:nvSpPr>
          <p:spPr bwMode="auto">
            <a:xfrm>
              <a:off x="5418" y="2970"/>
              <a:ext cx="170" cy="156"/>
            </a:xfrm>
            <a:custGeom>
              <a:avLst/>
              <a:gdLst/>
              <a:ahLst/>
              <a:cxnLst>
                <a:cxn ang="0">
                  <a:pos x="79" y="3361"/>
                </a:cxn>
                <a:cxn ang="0">
                  <a:pos x="0" y="3674"/>
                </a:cxn>
                <a:cxn ang="0">
                  <a:pos x="97" y="3969"/>
                </a:cxn>
                <a:cxn ang="0">
                  <a:pos x="482" y="4508"/>
                </a:cxn>
                <a:cxn ang="0">
                  <a:pos x="850" y="4974"/>
                </a:cxn>
                <a:cxn ang="0">
                  <a:pos x="1191" y="5261"/>
                </a:cxn>
                <a:cxn ang="0">
                  <a:pos x="1656" y="5422"/>
                </a:cxn>
                <a:cxn ang="0">
                  <a:pos x="2310" y="5462"/>
                </a:cxn>
                <a:cxn ang="0">
                  <a:pos x="2993" y="5462"/>
                </a:cxn>
                <a:cxn ang="0">
                  <a:pos x="3650" y="5459"/>
                </a:cxn>
                <a:cxn ang="0">
                  <a:pos x="4228" y="5420"/>
                </a:cxn>
                <a:cxn ang="0">
                  <a:pos x="4750" y="5296"/>
                </a:cxn>
                <a:cxn ang="0">
                  <a:pos x="5221" y="5040"/>
                </a:cxn>
                <a:cxn ang="0">
                  <a:pos x="5625" y="4619"/>
                </a:cxn>
                <a:cxn ang="0">
                  <a:pos x="5856" y="4092"/>
                </a:cxn>
                <a:cxn ang="0">
                  <a:pos x="5949" y="3502"/>
                </a:cxn>
                <a:cxn ang="0">
                  <a:pos x="5965" y="2673"/>
                </a:cxn>
                <a:cxn ang="0">
                  <a:pos x="5953" y="1969"/>
                </a:cxn>
                <a:cxn ang="0">
                  <a:pos x="5900" y="1557"/>
                </a:cxn>
                <a:cxn ang="0">
                  <a:pos x="5817" y="1258"/>
                </a:cxn>
                <a:cxn ang="0">
                  <a:pos x="5711" y="1009"/>
                </a:cxn>
                <a:cxn ang="0">
                  <a:pos x="5577" y="788"/>
                </a:cxn>
                <a:cxn ang="0">
                  <a:pos x="5426" y="601"/>
                </a:cxn>
                <a:cxn ang="0">
                  <a:pos x="5222" y="427"/>
                </a:cxn>
                <a:cxn ang="0">
                  <a:pos x="4725" y="164"/>
                </a:cxn>
                <a:cxn ang="0">
                  <a:pos x="4192" y="42"/>
                </a:cxn>
                <a:cxn ang="0">
                  <a:pos x="3519" y="6"/>
                </a:cxn>
                <a:cxn ang="0">
                  <a:pos x="2584" y="6"/>
                </a:cxn>
                <a:cxn ang="0">
                  <a:pos x="1910" y="0"/>
                </a:cxn>
                <a:cxn ang="0">
                  <a:pos x="1516" y="50"/>
                </a:cxn>
                <a:cxn ang="0">
                  <a:pos x="1257" y="281"/>
                </a:cxn>
                <a:cxn ang="0">
                  <a:pos x="1189" y="819"/>
                </a:cxn>
                <a:cxn ang="0">
                  <a:pos x="1864" y="922"/>
                </a:cxn>
                <a:cxn ang="0">
                  <a:pos x="2796" y="916"/>
                </a:cxn>
                <a:cxn ang="0">
                  <a:pos x="3419" y="904"/>
                </a:cxn>
                <a:cxn ang="0">
                  <a:pos x="3778" y="949"/>
                </a:cxn>
                <a:cxn ang="0">
                  <a:pos x="4036" y="1119"/>
                </a:cxn>
                <a:cxn ang="0">
                  <a:pos x="4135" y="1424"/>
                </a:cxn>
                <a:cxn ang="0">
                  <a:pos x="4152" y="2297"/>
                </a:cxn>
                <a:cxn ang="0">
                  <a:pos x="4147" y="3711"/>
                </a:cxn>
                <a:cxn ang="0">
                  <a:pos x="4132" y="4095"/>
                </a:cxn>
                <a:cxn ang="0">
                  <a:pos x="4091" y="4254"/>
                </a:cxn>
                <a:cxn ang="0">
                  <a:pos x="4005" y="4389"/>
                </a:cxn>
                <a:cxn ang="0">
                  <a:pos x="3868" y="4485"/>
                </a:cxn>
                <a:cxn ang="0">
                  <a:pos x="3677" y="4536"/>
                </a:cxn>
                <a:cxn ang="0">
                  <a:pos x="3291" y="4549"/>
                </a:cxn>
                <a:cxn ang="0">
                  <a:pos x="2883" y="4549"/>
                </a:cxn>
                <a:cxn ang="0">
                  <a:pos x="2471" y="4549"/>
                </a:cxn>
                <a:cxn ang="0">
                  <a:pos x="2113" y="4531"/>
                </a:cxn>
                <a:cxn ang="0">
                  <a:pos x="1961" y="4478"/>
                </a:cxn>
                <a:cxn ang="0">
                  <a:pos x="1854" y="4369"/>
                </a:cxn>
                <a:cxn ang="0">
                  <a:pos x="1809" y="4203"/>
                </a:cxn>
                <a:cxn ang="0">
                  <a:pos x="1842" y="4039"/>
                </a:cxn>
                <a:cxn ang="0">
                  <a:pos x="2001" y="3781"/>
                </a:cxn>
                <a:cxn ang="0">
                  <a:pos x="3248" y="2121"/>
                </a:cxn>
                <a:cxn ang="0">
                  <a:pos x="3426" y="1883"/>
                </a:cxn>
              </a:cxnLst>
              <a:rect l="0" t="0" r="r" b="b"/>
              <a:pathLst>
                <a:path w="5966" h="5463">
                  <a:moveTo>
                    <a:pt x="308" y="3008"/>
                  </a:moveTo>
                  <a:lnTo>
                    <a:pt x="265" y="3065"/>
                  </a:lnTo>
                  <a:lnTo>
                    <a:pt x="226" y="3121"/>
                  </a:lnTo>
                  <a:lnTo>
                    <a:pt x="190" y="3173"/>
                  </a:lnTo>
                  <a:lnTo>
                    <a:pt x="157" y="3223"/>
                  </a:lnTo>
                  <a:lnTo>
                    <a:pt x="128" y="3271"/>
                  </a:lnTo>
                  <a:lnTo>
                    <a:pt x="102" y="3317"/>
                  </a:lnTo>
                  <a:lnTo>
                    <a:pt x="79" y="3361"/>
                  </a:lnTo>
                  <a:lnTo>
                    <a:pt x="58" y="3404"/>
                  </a:lnTo>
                  <a:lnTo>
                    <a:pt x="42" y="3446"/>
                  </a:lnTo>
                  <a:lnTo>
                    <a:pt x="28" y="3486"/>
                  </a:lnTo>
                  <a:lnTo>
                    <a:pt x="16" y="3525"/>
                  </a:lnTo>
                  <a:lnTo>
                    <a:pt x="8" y="3563"/>
                  </a:lnTo>
                  <a:lnTo>
                    <a:pt x="3" y="3601"/>
                  </a:lnTo>
                  <a:lnTo>
                    <a:pt x="0" y="3637"/>
                  </a:lnTo>
                  <a:lnTo>
                    <a:pt x="0" y="3674"/>
                  </a:lnTo>
                  <a:lnTo>
                    <a:pt x="3" y="3710"/>
                  </a:lnTo>
                  <a:lnTo>
                    <a:pt x="9" y="3746"/>
                  </a:lnTo>
                  <a:lnTo>
                    <a:pt x="17" y="3782"/>
                  </a:lnTo>
                  <a:lnTo>
                    <a:pt x="29" y="3819"/>
                  </a:lnTo>
                  <a:lnTo>
                    <a:pt x="42" y="3855"/>
                  </a:lnTo>
                  <a:lnTo>
                    <a:pt x="58" y="3892"/>
                  </a:lnTo>
                  <a:lnTo>
                    <a:pt x="77" y="3930"/>
                  </a:lnTo>
                  <a:lnTo>
                    <a:pt x="97" y="3969"/>
                  </a:lnTo>
                  <a:lnTo>
                    <a:pt x="121" y="4009"/>
                  </a:lnTo>
                  <a:lnTo>
                    <a:pt x="146" y="4050"/>
                  </a:lnTo>
                  <a:lnTo>
                    <a:pt x="175" y="4092"/>
                  </a:lnTo>
                  <a:lnTo>
                    <a:pt x="204" y="4136"/>
                  </a:lnTo>
                  <a:lnTo>
                    <a:pt x="237" y="4182"/>
                  </a:lnTo>
                  <a:lnTo>
                    <a:pt x="309" y="4279"/>
                  </a:lnTo>
                  <a:lnTo>
                    <a:pt x="389" y="4385"/>
                  </a:lnTo>
                  <a:lnTo>
                    <a:pt x="482" y="4508"/>
                  </a:lnTo>
                  <a:lnTo>
                    <a:pt x="570" y="4625"/>
                  </a:lnTo>
                  <a:lnTo>
                    <a:pt x="611" y="4680"/>
                  </a:lnTo>
                  <a:lnTo>
                    <a:pt x="652" y="4735"/>
                  </a:lnTo>
                  <a:lnTo>
                    <a:pt x="693" y="4786"/>
                  </a:lnTo>
                  <a:lnTo>
                    <a:pt x="732" y="4836"/>
                  </a:lnTo>
                  <a:lnTo>
                    <a:pt x="771" y="4884"/>
                  </a:lnTo>
                  <a:lnTo>
                    <a:pt x="810" y="4930"/>
                  </a:lnTo>
                  <a:lnTo>
                    <a:pt x="850" y="4974"/>
                  </a:lnTo>
                  <a:lnTo>
                    <a:pt x="889" y="5017"/>
                  </a:lnTo>
                  <a:lnTo>
                    <a:pt x="930" y="5057"/>
                  </a:lnTo>
                  <a:lnTo>
                    <a:pt x="971" y="5096"/>
                  </a:lnTo>
                  <a:lnTo>
                    <a:pt x="1011" y="5133"/>
                  </a:lnTo>
                  <a:lnTo>
                    <a:pt x="1054" y="5168"/>
                  </a:lnTo>
                  <a:lnTo>
                    <a:pt x="1098" y="5200"/>
                  </a:lnTo>
                  <a:lnTo>
                    <a:pt x="1144" y="5232"/>
                  </a:lnTo>
                  <a:lnTo>
                    <a:pt x="1191" y="5261"/>
                  </a:lnTo>
                  <a:lnTo>
                    <a:pt x="1241" y="5287"/>
                  </a:lnTo>
                  <a:lnTo>
                    <a:pt x="1292" y="5313"/>
                  </a:lnTo>
                  <a:lnTo>
                    <a:pt x="1345" y="5336"/>
                  </a:lnTo>
                  <a:lnTo>
                    <a:pt x="1402" y="5357"/>
                  </a:lnTo>
                  <a:lnTo>
                    <a:pt x="1461" y="5376"/>
                  </a:lnTo>
                  <a:lnTo>
                    <a:pt x="1523" y="5394"/>
                  </a:lnTo>
                  <a:lnTo>
                    <a:pt x="1588" y="5409"/>
                  </a:lnTo>
                  <a:lnTo>
                    <a:pt x="1656" y="5422"/>
                  </a:lnTo>
                  <a:lnTo>
                    <a:pt x="1729" y="5434"/>
                  </a:lnTo>
                  <a:lnTo>
                    <a:pt x="1804" y="5443"/>
                  </a:lnTo>
                  <a:lnTo>
                    <a:pt x="1883" y="5450"/>
                  </a:lnTo>
                  <a:lnTo>
                    <a:pt x="1967" y="5455"/>
                  </a:lnTo>
                  <a:lnTo>
                    <a:pt x="2055" y="5458"/>
                  </a:lnTo>
                  <a:lnTo>
                    <a:pt x="2140" y="5460"/>
                  </a:lnTo>
                  <a:lnTo>
                    <a:pt x="2225" y="5461"/>
                  </a:lnTo>
                  <a:lnTo>
                    <a:pt x="2310" y="5462"/>
                  </a:lnTo>
                  <a:lnTo>
                    <a:pt x="2395" y="5463"/>
                  </a:lnTo>
                  <a:lnTo>
                    <a:pt x="2480" y="5463"/>
                  </a:lnTo>
                  <a:lnTo>
                    <a:pt x="2565" y="5463"/>
                  </a:lnTo>
                  <a:lnTo>
                    <a:pt x="2651" y="5463"/>
                  </a:lnTo>
                  <a:lnTo>
                    <a:pt x="2737" y="5463"/>
                  </a:lnTo>
                  <a:lnTo>
                    <a:pt x="2822" y="5463"/>
                  </a:lnTo>
                  <a:lnTo>
                    <a:pt x="2907" y="5462"/>
                  </a:lnTo>
                  <a:lnTo>
                    <a:pt x="2993" y="5462"/>
                  </a:lnTo>
                  <a:lnTo>
                    <a:pt x="3078" y="5462"/>
                  </a:lnTo>
                  <a:lnTo>
                    <a:pt x="3164" y="5461"/>
                  </a:lnTo>
                  <a:lnTo>
                    <a:pt x="3249" y="5461"/>
                  </a:lnTo>
                  <a:lnTo>
                    <a:pt x="3333" y="5461"/>
                  </a:lnTo>
                  <a:lnTo>
                    <a:pt x="3418" y="5461"/>
                  </a:lnTo>
                  <a:lnTo>
                    <a:pt x="3497" y="5460"/>
                  </a:lnTo>
                  <a:lnTo>
                    <a:pt x="3574" y="5460"/>
                  </a:lnTo>
                  <a:lnTo>
                    <a:pt x="3650" y="5459"/>
                  </a:lnTo>
                  <a:lnTo>
                    <a:pt x="3726" y="5457"/>
                  </a:lnTo>
                  <a:lnTo>
                    <a:pt x="3800" y="5455"/>
                  </a:lnTo>
                  <a:lnTo>
                    <a:pt x="3874" y="5451"/>
                  </a:lnTo>
                  <a:lnTo>
                    <a:pt x="3946" y="5447"/>
                  </a:lnTo>
                  <a:lnTo>
                    <a:pt x="4018" y="5442"/>
                  </a:lnTo>
                  <a:lnTo>
                    <a:pt x="4088" y="5436"/>
                  </a:lnTo>
                  <a:lnTo>
                    <a:pt x="4159" y="5429"/>
                  </a:lnTo>
                  <a:lnTo>
                    <a:pt x="4228" y="5420"/>
                  </a:lnTo>
                  <a:lnTo>
                    <a:pt x="4296" y="5410"/>
                  </a:lnTo>
                  <a:lnTo>
                    <a:pt x="4364" y="5399"/>
                  </a:lnTo>
                  <a:lnTo>
                    <a:pt x="4431" y="5387"/>
                  </a:lnTo>
                  <a:lnTo>
                    <a:pt x="4496" y="5372"/>
                  </a:lnTo>
                  <a:lnTo>
                    <a:pt x="4561" y="5356"/>
                  </a:lnTo>
                  <a:lnTo>
                    <a:pt x="4625" y="5337"/>
                  </a:lnTo>
                  <a:lnTo>
                    <a:pt x="4688" y="5318"/>
                  </a:lnTo>
                  <a:lnTo>
                    <a:pt x="4750" y="5296"/>
                  </a:lnTo>
                  <a:lnTo>
                    <a:pt x="4813" y="5272"/>
                  </a:lnTo>
                  <a:lnTo>
                    <a:pt x="4873" y="5246"/>
                  </a:lnTo>
                  <a:lnTo>
                    <a:pt x="4933" y="5218"/>
                  </a:lnTo>
                  <a:lnTo>
                    <a:pt x="4992" y="5187"/>
                  </a:lnTo>
                  <a:lnTo>
                    <a:pt x="5051" y="5154"/>
                  </a:lnTo>
                  <a:lnTo>
                    <a:pt x="5109" y="5118"/>
                  </a:lnTo>
                  <a:lnTo>
                    <a:pt x="5165" y="5081"/>
                  </a:lnTo>
                  <a:lnTo>
                    <a:pt x="5221" y="5040"/>
                  </a:lnTo>
                  <a:lnTo>
                    <a:pt x="5276" y="4996"/>
                  </a:lnTo>
                  <a:lnTo>
                    <a:pt x="5332" y="4950"/>
                  </a:lnTo>
                  <a:lnTo>
                    <a:pt x="5385" y="4900"/>
                  </a:lnTo>
                  <a:lnTo>
                    <a:pt x="5438" y="4847"/>
                  </a:lnTo>
                  <a:lnTo>
                    <a:pt x="5490" y="4792"/>
                  </a:lnTo>
                  <a:lnTo>
                    <a:pt x="5538" y="4736"/>
                  </a:lnTo>
                  <a:lnTo>
                    <a:pt x="5583" y="4678"/>
                  </a:lnTo>
                  <a:lnTo>
                    <a:pt x="5625" y="4619"/>
                  </a:lnTo>
                  <a:lnTo>
                    <a:pt x="5663" y="4558"/>
                  </a:lnTo>
                  <a:lnTo>
                    <a:pt x="5698" y="4495"/>
                  </a:lnTo>
                  <a:lnTo>
                    <a:pt x="5731" y="4432"/>
                  </a:lnTo>
                  <a:lnTo>
                    <a:pt x="5761" y="4366"/>
                  </a:lnTo>
                  <a:lnTo>
                    <a:pt x="5788" y="4299"/>
                  </a:lnTo>
                  <a:lnTo>
                    <a:pt x="5813" y="4231"/>
                  </a:lnTo>
                  <a:lnTo>
                    <a:pt x="5835" y="4161"/>
                  </a:lnTo>
                  <a:lnTo>
                    <a:pt x="5856" y="4092"/>
                  </a:lnTo>
                  <a:lnTo>
                    <a:pt x="5873" y="4020"/>
                  </a:lnTo>
                  <a:lnTo>
                    <a:pt x="5889" y="3949"/>
                  </a:lnTo>
                  <a:lnTo>
                    <a:pt x="5904" y="3875"/>
                  </a:lnTo>
                  <a:lnTo>
                    <a:pt x="5916" y="3802"/>
                  </a:lnTo>
                  <a:lnTo>
                    <a:pt x="5926" y="3728"/>
                  </a:lnTo>
                  <a:lnTo>
                    <a:pt x="5935" y="3653"/>
                  </a:lnTo>
                  <a:lnTo>
                    <a:pt x="5943" y="3578"/>
                  </a:lnTo>
                  <a:lnTo>
                    <a:pt x="5949" y="3502"/>
                  </a:lnTo>
                  <a:lnTo>
                    <a:pt x="5954" y="3427"/>
                  </a:lnTo>
                  <a:lnTo>
                    <a:pt x="5958" y="3351"/>
                  </a:lnTo>
                  <a:lnTo>
                    <a:pt x="5961" y="3274"/>
                  </a:lnTo>
                  <a:lnTo>
                    <a:pt x="5963" y="3198"/>
                  </a:lnTo>
                  <a:lnTo>
                    <a:pt x="5965" y="3123"/>
                  </a:lnTo>
                  <a:lnTo>
                    <a:pt x="5966" y="2971"/>
                  </a:lnTo>
                  <a:lnTo>
                    <a:pt x="5966" y="2821"/>
                  </a:lnTo>
                  <a:lnTo>
                    <a:pt x="5965" y="2673"/>
                  </a:lnTo>
                  <a:lnTo>
                    <a:pt x="5964" y="2528"/>
                  </a:lnTo>
                  <a:lnTo>
                    <a:pt x="5964" y="2444"/>
                  </a:lnTo>
                  <a:lnTo>
                    <a:pt x="5964" y="2361"/>
                  </a:lnTo>
                  <a:lnTo>
                    <a:pt x="5964" y="2280"/>
                  </a:lnTo>
                  <a:lnTo>
                    <a:pt x="5962" y="2200"/>
                  </a:lnTo>
                  <a:lnTo>
                    <a:pt x="5960" y="2123"/>
                  </a:lnTo>
                  <a:lnTo>
                    <a:pt x="5958" y="2045"/>
                  </a:lnTo>
                  <a:lnTo>
                    <a:pt x="5953" y="1969"/>
                  </a:lnTo>
                  <a:lnTo>
                    <a:pt x="5948" y="1893"/>
                  </a:lnTo>
                  <a:lnTo>
                    <a:pt x="5940" y="1819"/>
                  </a:lnTo>
                  <a:lnTo>
                    <a:pt x="5931" y="1744"/>
                  </a:lnTo>
                  <a:lnTo>
                    <a:pt x="5926" y="1706"/>
                  </a:lnTo>
                  <a:lnTo>
                    <a:pt x="5921" y="1669"/>
                  </a:lnTo>
                  <a:lnTo>
                    <a:pt x="5914" y="1631"/>
                  </a:lnTo>
                  <a:lnTo>
                    <a:pt x="5908" y="1595"/>
                  </a:lnTo>
                  <a:lnTo>
                    <a:pt x="5900" y="1557"/>
                  </a:lnTo>
                  <a:lnTo>
                    <a:pt x="5891" y="1519"/>
                  </a:lnTo>
                  <a:lnTo>
                    <a:pt x="5883" y="1482"/>
                  </a:lnTo>
                  <a:lnTo>
                    <a:pt x="5874" y="1444"/>
                  </a:lnTo>
                  <a:lnTo>
                    <a:pt x="5864" y="1406"/>
                  </a:lnTo>
                  <a:lnTo>
                    <a:pt x="5853" y="1367"/>
                  </a:lnTo>
                  <a:lnTo>
                    <a:pt x="5841" y="1329"/>
                  </a:lnTo>
                  <a:lnTo>
                    <a:pt x="5828" y="1291"/>
                  </a:lnTo>
                  <a:lnTo>
                    <a:pt x="5817" y="1258"/>
                  </a:lnTo>
                  <a:lnTo>
                    <a:pt x="5806" y="1226"/>
                  </a:lnTo>
                  <a:lnTo>
                    <a:pt x="5793" y="1193"/>
                  </a:lnTo>
                  <a:lnTo>
                    <a:pt x="5781" y="1162"/>
                  </a:lnTo>
                  <a:lnTo>
                    <a:pt x="5768" y="1131"/>
                  </a:lnTo>
                  <a:lnTo>
                    <a:pt x="5754" y="1099"/>
                  </a:lnTo>
                  <a:lnTo>
                    <a:pt x="5739" y="1069"/>
                  </a:lnTo>
                  <a:lnTo>
                    <a:pt x="5725" y="1039"/>
                  </a:lnTo>
                  <a:lnTo>
                    <a:pt x="5711" y="1009"/>
                  </a:lnTo>
                  <a:lnTo>
                    <a:pt x="5695" y="979"/>
                  </a:lnTo>
                  <a:lnTo>
                    <a:pt x="5679" y="951"/>
                  </a:lnTo>
                  <a:lnTo>
                    <a:pt x="5663" y="922"/>
                  </a:lnTo>
                  <a:lnTo>
                    <a:pt x="5646" y="895"/>
                  </a:lnTo>
                  <a:lnTo>
                    <a:pt x="5630" y="867"/>
                  </a:lnTo>
                  <a:lnTo>
                    <a:pt x="5613" y="840"/>
                  </a:lnTo>
                  <a:lnTo>
                    <a:pt x="5595" y="814"/>
                  </a:lnTo>
                  <a:lnTo>
                    <a:pt x="5577" y="788"/>
                  </a:lnTo>
                  <a:lnTo>
                    <a:pt x="5559" y="762"/>
                  </a:lnTo>
                  <a:lnTo>
                    <a:pt x="5541" y="738"/>
                  </a:lnTo>
                  <a:lnTo>
                    <a:pt x="5522" y="713"/>
                  </a:lnTo>
                  <a:lnTo>
                    <a:pt x="5503" y="690"/>
                  </a:lnTo>
                  <a:lnTo>
                    <a:pt x="5484" y="666"/>
                  </a:lnTo>
                  <a:lnTo>
                    <a:pt x="5464" y="644"/>
                  </a:lnTo>
                  <a:lnTo>
                    <a:pt x="5445" y="622"/>
                  </a:lnTo>
                  <a:lnTo>
                    <a:pt x="5426" y="601"/>
                  </a:lnTo>
                  <a:lnTo>
                    <a:pt x="5405" y="580"/>
                  </a:lnTo>
                  <a:lnTo>
                    <a:pt x="5386" y="561"/>
                  </a:lnTo>
                  <a:lnTo>
                    <a:pt x="5365" y="541"/>
                  </a:lnTo>
                  <a:lnTo>
                    <a:pt x="5345" y="523"/>
                  </a:lnTo>
                  <a:lnTo>
                    <a:pt x="5324" y="506"/>
                  </a:lnTo>
                  <a:lnTo>
                    <a:pt x="5304" y="488"/>
                  </a:lnTo>
                  <a:lnTo>
                    <a:pt x="5284" y="472"/>
                  </a:lnTo>
                  <a:lnTo>
                    <a:pt x="5222" y="427"/>
                  </a:lnTo>
                  <a:lnTo>
                    <a:pt x="5162" y="384"/>
                  </a:lnTo>
                  <a:lnTo>
                    <a:pt x="5101" y="345"/>
                  </a:lnTo>
                  <a:lnTo>
                    <a:pt x="5038" y="308"/>
                  </a:lnTo>
                  <a:lnTo>
                    <a:pt x="4977" y="274"/>
                  </a:lnTo>
                  <a:lnTo>
                    <a:pt x="4915" y="243"/>
                  </a:lnTo>
                  <a:lnTo>
                    <a:pt x="4852" y="214"/>
                  </a:lnTo>
                  <a:lnTo>
                    <a:pt x="4789" y="187"/>
                  </a:lnTo>
                  <a:lnTo>
                    <a:pt x="4725" y="164"/>
                  </a:lnTo>
                  <a:lnTo>
                    <a:pt x="4661" y="142"/>
                  </a:lnTo>
                  <a:lnTo>
                    <a:pt x="4596" y="122"/>
                  </a:lnTo>
                  <a:lnTo>
                    <a:pt x="4531" y="104"/>
                  </a:lnTo>
                  <a:lnTo>
                    <a:pt x="4464" y="89"/>
                  </a:lnTo>
                  <a:lnTo>
                    <a:pt x="4397" y="75"/>
                  </a:lnTo>
                  <a:lnTo>
                    <a:pt x="4329" y="62"/>
                  </a:lnTo>
                  <a:lnTo>
                    <a:pt x="4261" y="51"/>
                  </a:lnTo>
                  <a:lnTo>
                    <a:pt x="4192" y="42"/>
                  </a:lnTo>
                  <a:lnTo>
                    <a:pt x="4121" y="34"/>
                  </a:lnTo>
                  <a:lnTo>
                    <a:pt x="4050" y="28"/>
                  </a:lnTo>
                  <a:lnTo>
                    <a:pt x="3977" y="21"/>
                  </a:lnTo>
                  <a:lnTo>
                    <a:pt x="3903" y="17"/>
                  </a:lnTo>
                  <a:lnTo>
                    <a:pt x="3830" y="13"/>
                  </a:lnTo>
                  <a:lnTo>
                    <a:pt x="3753" y="10"/>
                  </a:lnTo>
                  <a:lnTo>
                    <a:pt x="3677" y="8"/>
                  </a:lnTo>
                  <a:lnTo>
                    <a:pt x="3519" y="6"/>
                  </a:lnTo>
                  <a:lnTo>
                    <a:pt x="3357" y="6"/>
                  </a:lnTo>
                  <a:lnTo>
                    <a:pt x="3188" y="6"/>
                  </a:lnTo>
                  <a:lnTo>
                    <a:pt x="3014" y="6"/>
                  </a:lnTo>
                  <a:lnTo>
                    <a:pt x="2928" y="6"/>
                  </a:lnTo>
                  <a:lnTo>
                    <a:pt x="2842" y="6"/>
                  </a:lnTo>
                  <a:lnTo>
                    <a:pt x="2755" y="6"/>
                  </a:lnTo>
                  <a:lnTo>
                    <a:pt x="2669" y="6"/>
                  </a:lnTo>
                  <a:lnTo>
                    <a:pt x="2584" y="6"/>
                  </a:lnTo>
                  <a:lnTo>
                    <a:pt x="2498" y="6"/>
                  </a:lnTo>
                  <a:lnTo>
                    <a:pt x="2411" y="6"/>
                  </a:lnTo>
                  <a:lnTo>
                    <a:pt x="2325" y="6"/>
                  </a:lnTo>
                  <a:lnTo>
                    <a:pt x="2203" y="5"/>
                  </a:lnTo>
                  <a:lnTo>
                    <a:pt x="2083" y="2"/>
                  </a:lnTo>
                  <a:lnTo>
                    <a:pt x="2025" y="1"/>
                  </a:lnTo>
                  <a:lnTo>
                    <a:pt x="1967" y="0"/>
                  </a:lnTo>
                  <a:lnTo>
                    <a:pt x="1910" y="0"/>
                  </a:lnTo>
                  <a:lnTo>
                    <a:pt x="1855" y="1"/>
                  </a:lnTo>
                  <a:lnTo>
                    <a:pt x="1802" y="2"/>
                  </a:lnTo>
                  <a:lnTo>
                    <a:pt x="1750" y="5"/>
                  </a:lnTo>
                  <a:lnTo>
                    <a:pt x="1700" y="10"/>
                  </a:lnTo>
                  <a:lnTo>
                    <a:pt x="1651" y="16"/>
                  </a:lnTo>
                  <a:lnTo>
                    <a:pt x="1604" y="26"/>
                  </a:lnTo>
                  <a:lnTo>
                    <a:pt x="1559" y="37"/>
                  </a:lnTo>
                  <a:lnTo>
                    <a:pt x="1516" y="50"/>
                  </a:lnTo>
                  <a:lnTo>
                    <a:pt x="1475" y="67"/>
                  </a:lnTo>
                  <a:lnTo>
                    <a:pt x="1436" y="86"/>
                  </a:lnTo>
                  <a:lnTo>
                    <a:pt x="1400" y="108"/>
                  </a:lnTo>
                  <a:lnTo>
                    <a:pt x="1366" y="135"/>
                  </a:lnTo>
                  <a:lnTo>
                    <a:pt x="1334" y="166"/>
                  </a:lnTo>
                  <a:lnTo>
                    <a:pt x="1306" y="200"/>
                  </a:lnTo>
                  <a:lnTo>
                    <a:pt x="1280" y="238"/>
                  </a:lnTo>
                  <a:lnTo>
                    <a:pt x="1257" y="281"/>
                  </a:lnTo>
                  <a:lnTo>
                    <a:pt x="1237" y="330"/>
                  </a:lnTo>
                  <a:lnTo>
                    <a:pt x="1220" y="382"/>
                  </a:lnTo>
                  <a:lnTo>
                    <a:pt x="1207" y="440"/>
                  </a:lnTo>
                  <a:lnTo>
                    <a:pt x="1195" y="504"/>
                  </a:lnTo>
                  <a:lnTo>
                    <a:pt x="1189" y="573"/>
                  </a:lnTo>
                  <a:lnTo>
                    <a:pt x="1185" y="649"/>
                  </a:lnTo>
                  <a:lnTo>
                    <a:pt x="1185" y="730"/>
                  </a:lnTo>
                  <a:lnTo>
                    <a:pt x="1189" y="819"/>
                  </a:lnTo>
                  <a:lnTo>
                    <a:pt x="1196" y="913"/>
                  </a:lnTo>
                  <a:lnTo>
                    <a:pt x="1248" y="916"/>
                  </a:lnTo>
                  <a:lnTo>
                    <a:pt x="1319" y="919"/>
                  </a:lnTo>
                  <a:lnTo>
                    <a:pt x="1406" y="920"/>
                  </a:lnTo>
                  <a:lnTo>
                    <a:pt x="1506" y="921"/>
                  </a:lnTo>
                  <a:lnTo>
                    <a:pt x="1617" y="922"/>
                  </a:lnTo>
                  <a:lnTo>
                    <a:pt x="1738" y="922"/>
                  </a:lnTo>
                  <a:lnTo>
                    <a:pt x="1864" y="922"/>
                  </a:lnTo>
                  <a:lnTo>
                    <a:pt x="1994" y="922"/>
                  </a:lnTo>
                  <a:lnTo>
                    <a:pt x="2126" y="921"/>
                  </a:lnTo>
                  <a:lnTo>
                    <a:pt x="2256" y="920"/>
                  </a:lnTo>
                  <a:lnTo>
                    <a:pt x="2381" y="919"/>
                  </a:lnTo>
                  <a:lnTo>
                    <a:pt x="2501" y="918"/>
                  </a:lnTo>
                  <a:lnTo>
                    <a:pt x="2612" y="917"/>
                  </a:lnTo>
                  <a:lnTo>
                    <a:pt x="2711" y="917"/>
                  </a:lnTo>
                  <a:lnTo>
                    <a:pt x="2796" y="916"/>
                  </a:lnTo>
                  <a:lnTo>
                    <a:pt x="2866" y="916"/>
                  </a:lnTo>
                  <a:lnTo>
                    <a:pt x="2966" y="915"/>
                  </a:lnTo>
                  <a:lnTo>
                    <a:pt x="3068" y="912"/>
                  </a:lnTo>
                  <a:lnTo>
                    <a:pt x="3169" y="908"/>
                  </a:lnTo>
                  <a:lnTo>
                    <a:pt x="3271" y="905"/>
                  </a:lnTo>
                  <a:lnTo>
                    <a:pt x="3321" y="905"/>
                  </a:lnTo>
                  <a:lnTo>
                    <a:pt x="3370" y="904"/>
                  </a:lnTo>
                  <a:lnTo>
                    <a:pt x="3419" y="904"/>
                  </a:lnTo>
                  <a:lnTo>
                    <a:pt x="3467" y="906"/>
                  </a:lnTo>
                  <a:lnTo>
                    <a:pt x="3515" y="908"/>
                  </a:lnTo>
                  <a:lnTo>
                    <a:pt x="3562" y="911"/>
                  </a:lnTo>
                  <a:lnTo>
                    <a:pt x="3607" y="915"/>
                  </a:lnTo>
                  <a:lnTo>
                    <a:pt x="3652" y="921"/>
                  </a:lnTo>
                  <a:lnTo>
                    <a:pt x="3695" y="928"/>
                  </a:lnTo>
                  <a:lnTo>
                    <a:pt x="3737" y="938"/>
                  </a:lnTo>
                  <a:lnTo>
                    <a:pt x="3778" y="949"/>
                  </a:lnTo>
                  <a:lnTo>
                    <a:pt x="3817" y="962"/>
                  </a:lnTo>
                  <a:lnTo>
                    <a:pt x="3853" y="976"/>
                  </a:lnTo>
                  <a:lnTo>
                    <a:pt x="3889" y="994"/>
                  </a:lnTo>
                  <a:lnTo>
                    <a:pt x="3923" y="1013"/>
                  </a:lnTo>
                  <a:lnTo>
                    <a:pt x="3955" y="1036"/>
                  </a:lnTo>
                  <a:lnTo>
                    <a:pt x="3984" y="1060"/>
                  </a:lnTo>
                  <a:lnTo>
                    <a:pt x="4012" y="1088"/>
                  </a:lnTo>
                  <a:lnTo>
                    <a:pt x="4036" y="1119"/>
                  </a:lnTo>
                  <a:lnTo>
                    <a:pt x="4060" y="1152"/>
                  </a:lnTo>
                  <a:lnTo>
                    <a:pt x="4079" y="1189"/>
                  </a:lnTo>
                  <a:lnTo>
                    <a:pt x="4098" y="1230"/>
                  </a:lnTo>
                  <a:lnTo>
                    <a:pt x="4112" y="1274"/>
                  </a:lnTo>
                  <a:lnTo>
                    <a:pt x="4124" y="1321"/>
                  </a:lnTo>
                  <a:lnTo>
                    <a:pt x="4128" y="1346"/>
                  </a:lnTo>
                  <a:lnTo>
                    <a:pt x="4132" y="1381"/>
                  </a:lnTo>
                  <a:lnTo>
                    <a:pt x="4135" y="1424"/>
                  </a:lnTo>
                  <a:lnTo>
                    <a:pt x="4138" y="1474"/>
                  </a:lnTo>
                  <a:lnTo>
                    <a:pt x="4141" y="1532"/>
                  </a:lnTo>
                  <a:lnTo>
                    <a:pt x="4144" y="1598"/>
                  </a:lnTo>
                  <a:lnTo>
                    <a:pt x="4146" y="1669"/>
                  </a:lnTo>
                  <a:lnTo>
                    <a:pt x="4147" y="1746"/>
                  </a:lnTo>
                  <a:lnTo>
                    <a:pt x="4150" y="1916"/>
                  </a:lnTo>
                  <a:lnTo>
                    <a:pt x="4152" y="2100"/>
                  </a:lnTo>
                  <a:lnTo>
                    <a:pt x="4152" y="2297"/>
                  </a:lnTo>
                  <a:lnTo>
                    <a:pt x="4153" y="2499"/>
                  </a:lnTo>
                  <a:lnTo>
                    <a:pt x="4152" y="2704"/>
                  </a:lnTo>
                  <a:lnTo>
                    <a:pt x="4151" y="2906"/>
                  </a:lnTo>
                  <a:lnTo>
                    <a:pt x="4150" y="3100"/>
                  </a:lnTo>
                  <a:lnTo>
                    <a:pt x="4149" y="3282"/>
                  </a:lnTo>
                  <a:lnTo>
                    <a:pt x="4148" y="3448"/>
                  </a:lnTo>
                  <a:lnTo>
                    <a:pt x="4147" y="3592"/>
                  </a:lnTo>
                  <a:lnTo>
                    <a:pt x="4147" y="3711"/>
                  </a:lnTo>
                  <a:lnTo>
                    <a:pt x="4146" y="3798"/>
                  </a:lnTo>
                  <a:lnTo>
                    <a:pt x="4146" y="3846"/>
                  </a:lnTo>
                  <a:lnTo>
                    <a:pt x="4146" y="3893"/>
                  </a:lnTo>
                  <a:lnTo>
                    <a:pt x="4145" y="3940"/>
                  </a:lnTo>
                  <a:lnTo>
                    <a:pt x="4143" y="3985"/>
                  </a:lnTo>
                  <a:lnTo>
                    <a:pt x="4139" y="4030"/>
                  </a:lnTo>
                  <a:lnTo>
                    <a:pt x="4135" y="4073"/>
                  </a:lnTo>
                  <a:lnTo>
                    <a:pt x="4132" y="4095"/>
                  </a:lnTo>
                  <a:lnTo>
                    <a:pt x="4129" y="4116"/>
                  </a:lnTo>
                  <a:lnTo>
                    <a:pt x="4125" y="4137"/>
                  </a:lnTo>
                  <a:lnTo>
                    <a:pt x="4121" y="4157"/>
                  </a:lnTo>
                  <a:lnTo>
                    <a:pt x="4116" y="4177"/>
                  </a:lnTo>
                  <a:lnTo>
                    <a:pt x="4111" y="4197"/>
                  </a:lnTo>
                  <a:lnTo>
                    <a:pt x="4105" y="4217"/>
                  </a:lnTo>
                  <a:lnTo>
                    <a:pt x="4099" y="4235"/>
                  </a:lnTo>
                  <a:lnTo>
                    <a:pt x="4091" y="4254"/>
                  </a:lnTo>
                  <a:lnTo>
                    <a:pt x="4083" y="4272"/>
                  </a:lnTo>
                  <a:lnTo>
                    <a:pt x="4074" y="4290"/>
                  </a:lnTo>
                  <a:lnTo>
                    <a:pt x="4065" y="4308"/>
                  </a:lnTo>
                  <a:lnTo>
                    <a:pt x="4055" y="4325"/>
                  </a:lnTo>
                  <a:lnTo>
                    <a:pt x="4043" y="4342"/>
                  </a:lnTo>
                  <a:lnTo>
                    <a:pt x="4031" y="4358"/>
                  </a:lnTo>
                  <a:lnTo>
                    <a:pt x="4018" y="4373"/>
                  </a:lnTo>
                  <a:lnTo>
                    <a:pt x="4005" y="4389"/>
                  </a:lnTo>
                  <a:lnTo>
                    <a:pt x="3989" y="4404"/>
                  </a:lnTo>
                  <a:lnTo>
                    <a:pt x="3974" y="4418"/>
                  </a:lnTo>
                  <a:lnTo>
                    <a:pt x="3957" y="4432"/>
                  </a:lnTo>
                  <a:lnTo>
                    <a:pt x="3940" y="4444"/>
                  </a:lnTo>
                  <a:lnTo>
                    <a:pt x="3923" y="4456"/>
                  </a:lnTo>
                  <a:lnTo>
                    <a:pt x="3906" y="4466"/>
                  </a:lnTo>
                  <a:lnTo>
                    <a:pt x="3887" y="4477"/>
                  </a:lnTo>
                  <a:lnTo>
                    <a:pt x="3868" y="4485"/>
                  </a:lnTo>
                  <a:lnTo>
                    <a:pt x="3848" y="4493"/>
                  </a:lnTo>
                  <a:lnTo>
                    <a:pt x="3828" y="4501"/>
                  </a:lnTo>
                  <a:lnTo>
                    <a:pt x="3807" y="4507"/>
                  </a:lnTo>
                  <a:lnTo>
                    <a:pt x="3787" y="4515"/>
                  </a:lnTo>
                  <a:lnTo>
                    <a:pt x="3766" y="4520"/>
                  </a:lnTo>
                  <a:lnTo>
                    <a:pt x="3744" y="4525"/>
                  </a:lnTo>
                  <a:lnTo>
                    <a:pt x="3722" y="4529"/>
                  </a:lnTo>
                  <a:lnTo>
                    <a:pt x="3677" y="4536"/>
                  </a:lnTo>
                  <a:lnTo>
                    <a:pt x="3630" y="4542"/>
                  </a:lnTo>
                  <a:lnTo>
                    <a:pt x="3583" y="4545"/>
                  </a:lnTo>
                  <a:lnTo>
                    <a:pt x="3535" y="4548"/>
                  </a:lnTo>
                  <a:lnTo>
                    <a:pt x="3486" y="4549"/>
                  </a:lnTo>
                  <a:lnTo>
                    <a:pt x="3438" y="4550"/>
                  </a:lnTo>
                  <a:lnTo>
                    <a:pt x="3389" y="4550"/>
                  </a:lnTo>
                  <a:lnTo>
                    <a:pt x="3340" y="4549"/>
                  </a:lnTo>
                  <a:lnTo>
                    <a:pt x="3291" y="4549"/>
                  </a:lnTo>
                  <a:lnTo>
                    <a:pt x="3244" y="4549"/>
                  </a:lnTo>
                  <a:lnTo>
                    <a:pt x="3191" y="4549"/>
                  </a:lnTo>
                  <a:lnTo>
                    <a:pt x="3140" y="4549"/>
                  </a:lnTo>
                  <a:lnTo>
                    <a:pt x="3089" y="4549"/>
                  </a:lnTo>
                  <a:lnTo>
                    <a:pt x="3037" y="4549"/>
                  </a:lnTo>
                  <a:lnTo>
                    <a:pt x="2986" y="4549"/>
                  </a:lnTo>
                  <a:lnTo>
                    <a:pt x="2934" y="4549"/>
                  </a:lnTo>
                  <a:lnTo>
                    <a:pt x="2883" y="4549"/>
                  </a:lnTo>
                  <a:lnTo>
                    <a:pt x="2832" y="4549"/>
                  </a:lnTo>
                  <a:lnTo>
                    <a:pt x="2780" y="4549"/>
                  </a:lnTo>
                  <a:lnTo>
                    <a:pt x="2729" y="4549"/>
                  </a:lnTo>
                  <a:lnTo>
                    <a:pt x="2677" y="4549"/>
                  </a:lnTo>
                  <a:lnTo>
                    <a:pt x="2625" y="4549"/>
                  </a:lnTo>
                  <a:lnTo>
                    <a:pt x="2574" y="4549"/>
                  </a:lnTo>
                  <a:lnTo>
                    <a:pt x="2522" y="4549"/>
                  </a:lnTo>
                  <a:lnTo>
                    <a:pt x="2471" y="4549"/>
                  </a:lnTo>
                  <a:lnTo>
                    <a:pt x="2420" y="4549"/>
                  </a:lnTo>
                  <a:lnTo>
                    <a:pt x="2369" y="4549"/>
                  </a:lnTo>
                  <a:lnTo>
                    <a:pt x="2320" y="4548"/>
                  </a:lnTo>
                  <a:lnTo>
                    <a:pt x="2271" y="4547"/>
                  </a:lnTo>
                  <a:lnTo>
                    <a:pt x="2224" y="4544"/>
                  </a:lnTo>
                  <a:lnTo>
                    <a:pt x="2178" y="4540"/>
                  </a:lnTo>
                  <a:lnTo>
                    <a:pt x="2134" y="4534"/>
                  </a:lnTo>
                  <a:lnTo>
                    <a:pt x="2113" y="4531"/>
                  </a:lnTo>
                  <a:lnTo>
                    <a:pt x="2092" y="4527"/>
                  </a:lnTo>
                  <a:lnTo>
                    <a:pt x="2072" y="4522"/>
                  </a:lnTo>
                  <a:lnTo>
                    <a:pt x="2052" y="4517"/>
                  </a:lnTo>
                  <a:lnTo>
                    <a:pt x="2033" y="4510"/>
                  </a:lnTo>
                  <a:lnTo>
                    <a:pt x="2014" y="4503"/>
                  </a:lnTo>
                  <a:lnTo>
                    <a:pt x="1996" y="4496"/>
                  </a:lnTo>
                  <a:lnTo>
                    <a:pt x="1979" y="4487"/>
                  </a:lnTo>
                  <a:lnTo>
                    <a:pt x="1961" y="4478"/>
                  </a:lnTo>
                  <a:lnTo>
                    <a:pt x="1946" y="4467"/>
                  </a:lnTo>
                  <a:lnTo>
                    <a:pt x="1931" y="4457"/>
                  </a:lnTo>
                  <a:lnTo>
                    <a:pt x="1916" y="4445"/>
                  </a:lnTo>
                  <a:lnTo>
                    <a:pt x="1902" y="4432"/>
                  </a:lnTo>
                  <a:lnTo>
                    <a:pt x="1889" y="4418"/>
                  </a:lnTo>
                  <a:lnTo>
                    <a:pt x="1877" y="4403"/>
                  </a:lnTo>
                  <a:lnTo>
                    <a:pt x="1865" y="4387"/>
                  </a:lnTo>
                  <a:lnTo>
                    <a:pt x="1854" y="4369"/>
                  </a:lnTo>
                  <a:lnTo>
                    <a:pt x="1845" y="4351"/>
                  </a:lnTo>
                  <a:lnTo>
                    <a:pt x="1836" y="4331"/>
                  </a:lnTo>
                  <a:lnTo>
                    <a:pt x="1828" y="4310"/>
                  </a:lnTo>
                  <a:lnTo>
                    <a:pt x="1822" y="4288"/>
                  </a:lnTo>
                  <a:lnTo>
                    <a:pt x="1816" y="4267"/>
                  </a:lnTo>
                  <a:lnTo>
                    <a:pt x="1812" y="4245"/>
                  </a:lnTo>
                  <a:lnTo>
                    <a:pt x="1810" y="4225"/>
                  </a:lnTo>
                  <a:lnTo>
                    <a:pt x="1809" y="4203"/>
                  </a:lnTo>
                  <a:lnTo>
                    <a:pt x="1809" y="4182"/>
                  </a:lnTo>
                  <a:lnTo>
                    <a:pt x="1811" y="4161"/>
                  </a:lnTo>
                  <a:lnTo>
                    <a:pt x="1814" y="4140"/>
                  </a:lnTo>
                  <a:lnTo>
                    <a:pt x="1817" y="4119"/>
                  </a:lnTo>
                  <a:lnTo>
                    <a:pt x="1823" y="4099"/>
                  </a:lnTo>
                  <a:lnTo>
                    <a:pt x="1829" y="4079"/>
                  </a:lnTo>
                  <a:lnTo>
                    <a:pt x="1835" y="4058"/>
                  </a:lnTo>
                  <a:lnTo>
                    <a:pt x="1842" y="4039"/>
                  </a:lnTo>
                  <a:lnTo>
                    <a:pt x="1850" y="4019"/>
                  </a:lnTo>
                  <a:lnTo>
                    <a:pt x="1859" y="4000"/>
                  </a:lnTo>
                  <a:lnTo>
                    <a:pt x="1869" y="3980"/>
                  </a:lnTo>
                  <a:lnTo>
                    <a:pt x="1889" y="3943"/>
                  </a:lnTo>
                  <a:lnTo>
                    <a:pt x="1910" y="3908"/>
                  </a:lnTo>
                  <a:lnTo>
                    <a:pt x="1933" y="3874"/>
                  </a:lnTo>
                  <a:lnTo>
                    <a:pt x="1956" y="3841"/>
                  </a:lnTo>
                  <a:lnTo>
                    <a:pt x="2001" y="3781"/>
                  </a:lnTo>
                  <a:lnTo>
                    <a:pt x="2041" y="3730"/>
                  </a:lnTo>
                  <a:lnTo>
                    <a:pt x="3111" y="2301"/>
                  </a:lnTo>
                  <a:lnTo>
                    <a:pt x="3134" y="2270"/>
                  </a:lnTo>
                  <a:lnTo>
                    <a:pt x="3158" y="2239"/>
                  </a:lnTo>
                  <a:lnTo>
                    <a:pt x="3180" y="2210"/>
                  </a:lnTo>
                  <a:lnTo>
                    <a:pt x="3203" y="2180"/>
                  </a:lnTo>
                  <a:lnTo>
                    <a:pt x="3225" y="2150"/>
                  </a:lnTo>
                  <a:lnTo>
                    <a:pt x="3248" y="2121"/>
                  </a:lnTo>
                  <a:lnTo>
                    <a:pt x="3269" y="2091"/>
                  </a:lnTo>
                  <a:lnTo>
                    <a:pt x="3291" y="2061"/>
                  </a:lnTo>
                  <a:lnTo>
                    <a:pt x="3312" y="2033"/>
                  </a:lnTo>
                  <a:lnTo>
                    <a:pt x="3334" y="2004"/>
                  </a:lnTo>
                  <a:lnTo>
                    <a:pt x="3358" y="1974"/>
                  </a:lnTo>
                  <a:lnTo>
                    <a:pt x="3382" y="1944"/>
                  </a:lnTo>
                  <a:lnTo>
                    <a:pt x="3405" y="1913"/>
                  </a:lnTo>
                  <a:lnTo>
                    <a:pt x="3426" y="1883"/>
                  </a:lnTo>
                  <a:lnTo>
                    <a:pt x="3437" y="1868"/>
                  </a:lnTo>
                  <a:lnTo>
                    <a:pt x="3446" y="1852"/>
                  </a:lnTo>
                  <a:lnTo>
                    <a:pt x="3454" y="1838"/>
                  </a:lnTo>
                  <a:lnTo>
                    <a:pt x="3461" y="1823"/>
                  </a:lnTo>
                  <a:lnTo>
                    <a:pt x="1189" y="1825"/>
                  </a:lnTo>
                  <a:lnTo>
                    <a:pt x="308" y="3008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4" name="Freeform 11"/>
            <p:cNvSpPr>
              <a:spLocks/>
            </p:cNvSpPr>
            <p:nvPr userDrawn="1"/>
          </p:nvSpPr>
          <p:spPr bwMode="auto">
            <a:xfrm>
              <a:off x="5121" y="3022"/>
              <a:ext cx="196" cy="156"/>
            </a:xfrm>
            <a:custGeom>
              <a:avLst/>
              <a:gdLst/>
              <a:ahLst/>
              <a:cxnLst>
                <a:cxn ang="0">
                  <a:pos x="2720" y="5463"/>
                </a:cxn>
                <a:cxn ang="0">
                  <a:pos x="3040" y="915"/>
                </a:cxn>
                <a:cxn ang="0">
                  <a:pos x="3460" y="914"/>
                </a:cxn>
                <a:cxn ang="0">
                  <a:pos x="3880" y="916"/>
                </a:cxn>
                <a:cxn ang="0">
                  <a:pos x="4298" y="918"/>
                </a:cxn>
                <a:cxn ang="0">
                  <a:pos x="4646" y="922"/>
                </a:cxn>
                <a:cxn ang="0">
                  <a:pos x="4757" y="935"/>
                </a:cxn>
                <a:cxn ang="0">
                  <a:pos x="4839" y="957"/>
                </a:cxn>
                <a:cxn ang="0">
                  <a:pos x="4912" y="990"/>
                </a:cxn>
                <a:cxn ang="0">
                  <a:pos x="4972" y="1037"/>
                </a:cxn>
                <a:cxn ang="0">
                  <a:pos x="5020" y="1104"/>
                </a:cxn>
                <a:cxn ang="0">
                  <a:pos x="5053" y="1190"/>
                </a:cxn>
                <a:cxn ang="0">
                  <a:pos x="5063" y="1276"/>
                </a:cxn>
                <a:cxn ang="0">
                  <a:pos x="5052" y="1359"/>
                </a:cxn>
                <a:cxn ang="0">
                  <a:pos x="5026" y="1438"/>
                </a:cxn>
                <a:cxn ang="0">
                  <a:pos x="4989" y="1512"/>
                </a:cxn>
                <a:cxn ang="0">
                  <a:pos x="4889" y="1658"/>
                </a:cxn>
                <a:cxn ang="0">
                  <a:pos x="3727" y="3210"/>
                </a:cxn>
                <a:cxn ang="0">
                  <a:pos x="3640" y="3327"/>
                </a:cxn>
                <a:cxn ang="0">
                  <a:pos x="3551" y="3444"/>
                </a:cxn>
                <a:cxn ang="0">
                  <a:pos x="3444" y="3588"/>
                </a:cxn>
                <a:cxn ang="0">
                  <a:pos x="3412" y="3643"/>
                </a:cxn>
                <a:cxn ang="0">
                  <a:pos x="5684" y="3621"/>
                </a:cxn>
                <a:cxn ang="0">
                  <a:pos x="5828" y="3445"/>
                </a:cxn>
                <a:cxn ang="0">
                  <a:pos x="6062" y="3137"/>
                </a:cxn>
                <a:cxn ang="0">
                  <a:pos x="6267" y="2859"/>
                </a:cxn>
                <a:cxn ang="0">
                  <a:pos x="6360" y="2731"/>
                </a:cxn>
                <a:cxn ang="0">
                  <a:pos x="6443" y="2618"/>
                </a:cxn>
                <a:cxn ang="0">
                  <a:pos x="6540" y="2492"/>
                </a:cxn>
                <a:cxn ang="0">
                  <a:pos x="6676" y="2311"/>
                </a:cxn>
                <a:cxn ang="0">
                  <a:pos x="6754" y="2189"/>
                </a:cxn>
                <a:cxn ang="0">
                  <a:pos x="6806" y="2086"/>
                </a:cxn>
                <a:cxn ang="0">
                  <a:pos x="6843" y="1979"/>
                </a:cxn>
                <a:cxn ang="0">
                  <a:pos x="6864" y="1869"/>
                </a:cxn>
                <a:cxn ang="0">
                  <a:pos x="6863" y="1754"/>
                </a:cxn>
                <a:cxn ang="0">
                  <a:pos x="6837" y="1645"/>
                </a:cxn>
                <a:cxn ang="0">
                  <a:pos x="6784" y="1527"/>
                </a:cxn>
                <a:cxn ang="0">
                  <a:pos x="6710" y="1398"/>
                </a:cxn>
                <a:cxn ang="0">
                  <a:pos x="6547" y="1162"/>
                </a:cxn>
                <a:cxn ang="0">
                  <a:pos x="6357" y="913"/>
                </a:cxn>
                <a:cxn ang="0">
                  <a:pos x="6199" y="705"/>
                </a:cxn>
                <a:cxn ang="0">
                  <a:pos x="6039" y="511"/>
                </a:cxn>
                <a:cxn ang="0">
                  <a:pos x="5940" y="408"/>
                </a:cxn>
                <a:cxn ang="0">
                  <a:pos x="5834" y="314"/>
                </a:cxn>
                <a:cxn ang="0">
                  <a:pos x="5720" y="229"/>
                </a:cxn>
                <a:cxn ang="0">
                  <a:pos x="5596" y="157"/>
                </a:cxn>
                <a:cxn ang="0">
                  <a:pos x="5461" y="100"/>
                </a:cxn>
                <a:cxn ang="0">
                  <a:pos x="5315" y="60"/>
                </a:cxn>
                <a:cxn ang="0">
                  <a:pos x="5147" y="32"/>
                </a:cxn>
                <a:cxn ang="0">
                  <a:pos x="4912" y="11"/>
                </a:cxn>
                <a:cxn ang="0">
                  <a:pos x="4506" y="0"/>
                </a:cxn>
                <a:cxn ang="0">
                  <a:pos x="4105" y="4"/>
                </a:cxn>
                <a:cxn ang="0">
                  <a:pos x="676" y="6"/>
                </a:cxn>
                <a:cxn ang="0">
                  <a:pos x="441" y="24"/>
                </a:cxn>
                <a:cxn ang="0">
                  <a:pos x="268" y="75"/>
                </a:cxn>
                <a:cxn ang="0">
                  <a:pos x="147" y="155"/>
                </a:cxn>
                <a:cxn ang="0">
                  <a:pos x="69" y="263"/>
                </a:cxn>
                <a:cxn ang="0">
                  <a:pos x="25" y="395"/>
                </a:cxn>
                <a:cxn ang="0">
                  <a:pos x="5" y="549"/>
                </a:cxn>
                <a:cxn ang="0">
                  <a:pos x="0" y="723"/>
                </a:cxn>
              </a:cxnLst>
              <a:rect l="0" t="0" r="r" b="b"/>
              <a:pathLst>
                <a:path w="6866" h="5463">
                  <a:moveTo>
                    <a:pt x="0" y="916"/>
                  </a:moveTo>
                  <a:lnTo>
                    <a:pt x="904" y="918"/>
                  </a:lnTo>
                  <a:lnTo>
                    <a:pt x="909" y="5461"/>
                  </a:lnTo>
                  <a:lnTo>
                    <a:pt x="2720" y="5463"/>
                  </a:lnTo>
                  <a:lnTo>
                    <a:pt x="2726" y="919"/>
                  </a:lnTo>
                  <a:lnTo>
                    <a:pt x="2830" y="917"/>
                  </a:lnTo>
                  <a:lnTo>
                    <a:pt x="2935" y="916"/>
                  </a:lnTo>
                  <a:lnTo>
                    <a:pt x="3040" y="915"/>
                  </a:lnTo>
                  <a:lnTo>
                    <a:pt x="3144" y="914"/>
                  </a:lnTo>
                  <a:lnTo>
                    <a:pt x="3250" y="914"/>
                  </a:lnTo>
                  <a:lnTo>
                    <a:pt x="3355" y="914"/>
                  </a:lnTo>
                  <a:lnTo>
                    <a:pt x="3460" y="914"/>
                  </a:lnTo>
                  <a:lnTo>
                    <a:pt x="3565" y="915"/>
                  </a:lnTo>
                  <a:lnTo>
                    <a:pt x="3669" y="915"/>
                  </a:lnTo>
                  <a:lnTo>
                    <a:pt x="3775" y="916"/>
                  </a:lnTo>
                  <a:lnTo>
                    <a:pt x="3880" y="916"/>
                  </a:lnTo>
                  <a:lnTo>
                    <a:pt x="3984" y="917"/>
                  </a:lnTo>
                  <a:lnTo>
                    <a:pt x="4089" y="917"/>
                  </a:lnTo>
                  <a:lnTo>
                    <a:pt x="4194" y="918"/>
                  </a:lnTo>
                  <a:lnTo>
                    <a:pt x="4298" y="918"/>
                  </a:lnTo>
                  <a:lnTo>
                    <a:pt x="4402" y="918"/>
                  </a:lnTo>
                  <a:lnTo>
                    <a:pt x="4501" y="918"/>
                  </a:lnTo>
                  <a:lnTo>
                    <a:pt x="4599" y="920"/>
                  </a:lnTo>
                  <a:lnTo>
                    <a:pt x="4646" y="922"/>
                  </a:lnTo>
                  <a:lnTo>
                    <a:pt x="4692" y="926"/>
                  </a:lnTo>
                  <a:lnTo>
                    <a:pt x="4715" y="929"/>
                  </a:lnTo>
                  <a:lnTo>
                    <a:pt x="4736" y="932"/>
                  </a:lnTo>
                  <a:lnTo>
                    <a:pt x="4757" y="935"/>
                  </a:lnTo>
                  <a:lnTo>
                    <a:pt x="4779" y="940"/>
                  </a:lnTo>
                  <a:lnTo>
                    <a:pt x="4799" y="944"/>
                  </a:lnTo>
                  <a:lnTo>
                    <a:pt x="4820" y="950"/>
                  </a:lnTo>
                  <a:lnTo>
                    <a:pt x="4839" y="957"/>
                  </a:lnTo>
                  <a:lnTo>
                    <a:pt x="4859" y="964"/>
                  </a:lnTo>
                  <a:lnTo>
                    <a:pt x="4877" y="972"/>
                  </a:lnTo>
                  <a:lnTo>
                    <a:pt x="4894" y="980"/>
                  </a:lnTo>
                  <a:lnTo>
                    <a:pt x="4912" y="990"/>
                  </a:lnTo>
                  <a:lnTo>
                    <a:pt x="4928" y="1001"/>
                  </a:lnTo>
                  <a:lnTo>
                    <a:pt x="4943" y="1012"/>
                  </a:lnTo>
                  <a:lnTo>
                    <a:pt x="4959" y="1024"/>
                  </a:lnTo>
                  <a:lnTo>
                    <a:pt x="4972" y="1037"/>
                  </a:lnTo>
                  <a:lnTo>
                    <a:pt x="4985" y="1053"/>
                  </a:lnTo>
                  <a:lnTo>
                    <a:pt x="4997" y="1068"/>
                  </a:lnTo>
                  <a:lnTo>
                    <a:pt x="5010" y="1086"/>
                  </a:lnTo>
                  <a:lnTo>
                    <a:pt x="5020" y="1104"/>
                  </a:lnTo>
                  <a:lnTo>
                    <a:pt x="5030" y="1123"/>
                  </a:lnTo>
                  <a:lnTo>
                    <a:pt x="5039" y="1145"/>
                  </a:lnTo>
                  <a:lnTo>
                    <a:pt x="5047" y="1167"/>
                  </a:lnTo>
                  <a:lnTo>
                    <a:pt x="5053" y="1190"/>
                  </a:lnTo>
                  <a:lnTo>
                    <a:pt x="5058" y="1211"/>
                  </a:lnTo>
                  <a:lnTo>
                    <a:pt x="5061" y="1233"/>
                  </a:lnTo>
                  <a:lnTo>
                    <a:pt x="5062" y="1254"/>
                  </a:lnTo>
                  <a:lnTo>
                    <a:pt x="5063" y="1276"/>
                  </a:lnTo>
                  <a:lnTo>
                    <a:pt x="5062" y="1297"/>
                  </a:lnTo>
                  <a:lnTo>
                    <a:pt x="5060" y="1318"/>
                  </a:lnTo>
                  <a:lnTo>
                    <a:pt x="5056" y="1338"/>
                  </a:lnTo>
                  <a:lnTo>
                    <a:pt x="5052" y="1359"/>
                  </a:lnTo>
                  <a:lnTo>
                    <a:pt x="5047" y="1379"/>
                  </a:lnTo>
                  <a:lnTo>
                    <a:pt x="5040" y="1399"/>
                  </a:lnTo>
                  <a:lnTo>
                    <a:pt x="5033" y="1418"/>
                  </a:lnTo>
                  <a:lnTo>
                    <a:pt x="5026" y="1438"/>
                  </a:lnTo>
                  <a:lnTo>
                    <a:pt x="5018" y="1457"/>
                  </a:lnTo>
                  <a:lnTo>
                    <a:pt x="5009" y="1476"/>
                  </a:lnTo>
                  <a:lnTo>
                    <a:pt x="5000" y="1494"/>
                  </a:lnTo>
                  <a:lnTo>
                    <a:pt x="4989" y="1512"/>
                  </a:lnTo>
                  <a:lnTo>
                    <a:pt x="4979" y="1530"/>
                  </a:lnTo>
                  <a:lnTo>
                    <a:pt x="4957" y="1565"/>
                  </a:lnTo>
                  <a:lnTo>
                    <a:pt x="4934" y="1597"/>
                  </a:lnTo>
                  <a:lnTo>
                    <a:pt x="4889" y="1658"/>
                  </a:lnTo>
                  <a:lnTo>
                    <a:pt x="4848" y="1712"/>
                  </a:lnTo>
                  <a:lnTo>
                    <a:pt x="3773" y="3149"/>
                  </a:lnTo>
                  <a:lnTo>
                    <a:pt x="3749" y="3180"/>
                  </a:lnTo>
                  <a:lnTo>
                    <a:pt x="3727" y="3210"/>
                  </a:lnTo>
                  <a:lnTo>
                    <a:pt x="3705" y="3239"/>
                  </a:lnTo>
                  <a:lnTo>
                    <a:pt x="3684" y="3268"/>
                  </a:lnTo>
                  <a:lnTo>
                    <a:pt x="3662" y="3297"/>
                  </a:lnTo>
                  <a:lnTo>
                    <a:pt x="3640" y="3327"/>
                  </a:lnTo>
                  <a:lnTo>
                    <a:pt x="3617" y="3357"/>
                  </a:lnTo>
                  <a:lnTo>
                    <a:pt x="3594" y="3389"/>
                  </a:lnTo>
                  <a:lnTo>
                    <a:pt x="3575" y="3413"/>
                  </a:lnTo>
                  <a:lnTo>
                    <a:pt x="3551" y="3444"/>
                  </a:lnTo>
                  <a:lnTo>
                    <a:pt x="3524" y="3478"/>
                  </a:lnTo>
                  <a:lnTo>
                    <a:pt x="3496" y="3515"/>
                  </a:lnTo>
                  <a:lnTo>
                    <a:pt x="3468" y="3553"/>
                  </a:lnTo>
                  <a:lnTo>
                    <a:pt x="3444" y="3588"/>
                  </a:lnTo>
                  <a:lnTo>
                    <a:pt x="3433" y="3604"/>
                  </a:lnTo>
                  <a:lnTo>
                    <a:pt x="3424" y="3619"/>
                  </a:lnTo>
                  <a:lnTo>
                    <a:pt x="3417" y="3632"/>
                  </a:lnTo>
                  <a:lnTo>
                    <a:pt x="3412" y="3643"/>
                  </a:lnTo>
                  <a:lnTo>
                    <a:pt x="5657" y="3644"/>
                  </a:lnTo>
                  <a:lnTo>
                    <a:pt x="5664" y="3640"/>
                  </a:lnTo>
                  <a:lnTo>
                    <a:pt x="5672" y="3633"/>
                  </a:lnTo>
                  <a:lnTo>
                    <a:pt x="5684" y="3621"/>
                  </a:lnTo>
                  <a:lnTo>
                    <a:pt x="5698" y="3605"/>
                  </a:lnTo>
                  <a:lnTo>
                    <a:pt x="5734" y="3563"/>
                  </a:lnTo>
                  <a:lnTo>
                    <a:pt x="5778" y="3509"/>
                  </a:lnTo>
                  <a:lnTo>
                    <a:pt x="5828" y="3445"/>
                  </a:lnTo>
                  <a:lnTo>
                    <a:pt x="5883" y="3373"/>
                  </a:lnTo>
                  <a:lnTo>
                    <a:pt x="5942" y="3296"/>
                  </a:lnTo>
                  <a:lnTo>
                    <a:pt x="6002" y="3216"/>
                  </a:lnTo>
                  <a:lnTo>
                    <a:pt x="6062" y="3137"/>
                  </a:lnTo>
                  <a:lnTo>
                    <a:pt x="6120" y="3059"/>
                  </a:lnTo>
                  <a:lnTo>
                    <a:pt x="6174" y="2985"/>
                  </a:lnTo>
                  <a:lnTo>
                    <a:pt x="6224" y="2918"/>
                  </a:lnTo>
                  <a:lnTo>
                    <a:pt x="6267" y="2859"/>
                  </a:lnTo>
                  <a:lnTo>
                    <a:pt x="6302" y="2811"/>
                  </a:lnTo>
                  <a:lnTo>
                    <a:pt x="6327" y="2777"/>
                  </a:lnTo>
                  <a:lnTo>
                    <a:pt x="6340" y="2759"/>
                  </a:lnTo>
                  <a:lnTo>
                    <a:pt x="6360" y="2731"/>
                  </a:lnTo>
                  <a:lnTo>
                    <a:pt x="6380" y="2704"/>
                  </a:lnTo>
                  <a:lnTo>
                    <a:pt x="6401" y="2675"/>
                  </a:lnTo>
                  <a:lnTo>
                    <a:pt x="6422" y="2646"/>
                  </a:lnTo>
                  <a:lnTo>
                    <a:pt x="6443" y="2618"/>
                  </a:lnTo>
                  <a:lnTo>
                    <a:pt x="6464" y="2589"/>
                  </a:lnTo>
                  <a:lnTo>
                    <a:pt x="6485" y="2561"/>
                  </a:lnTo>
                  <a:lnTo>
                    <a:pt x="6506" y="2534"/>
                  </a:lnTo>
                  <a:lnTo>
                    <a:pt x="6540" y="2492"/>
                  </a:lnTo>
                  <a:lnTo>
                    <a:pt x="6574" y="2448"/>
                  </a:lnTo>
                  <a:lnTo>
                    <a:pt x="6608" y="2404"/>
                  </a:lnTo>
                  <a:lnTo>
                    <a:pt x="6642" y="2358"/>
                  </a:lnTo>
                  <a:lnTo>
                    <a:pt x="6676" y="2311"/>
                  </a:lnTo>
                  <a:lnTo>
                    <a:pt x="6709" y="2263"/>
                  </a:lnTo>
                  <a:lnTo>
                    <a:pt x="6724" y="2238"/>
                  </a:lnTo>
                  <a:lnTo>
                    <a:pt x="6739" y="2213"/>
                  </a:lnTo>
                  <a:lnTo>
                    <a:pt x="6754" y="2189"/>
                  </a:lnTo>
                  <a:lnTo>
                    <a:pt x="6768" y="2163"/>
                  </a:lnTo>
                  <a:lnTo>
                    <a:pt x="6781" y="2138"/>
                  </a:lnTo>
                  <a:lnTo>
                    <a:pt x="6793" y="2112"/>
                  </a:lnTo>
                  <a:lnTo>
                    <a:pt x="6806" y="2086"/>
                  </a:lnTo>
                  <a:lnTo>
                    <a:pt x="6817" y="2060"/>
                  </a:lnTo>
                  <a:lnTo>
                    <a:pt x="6826" y="2033"/>
                  </a:lnTo>
                  <a:lnTo>
                    <a:pt x="6835" y="2006"/>
                  </a:lnTo>
                  <a:lnTo>
                    <a:pt x="6843" y="1979"/>
                  </a:lnTo>
                  <a:lnTo>
                    <a:pt x="6851" y="1951"/>
                  </a:lnTo>
                  <a:lnTo>
                    <a:pt x="6857" y="1924"/>
                  </a:lnTo>
                  <a:lnTo>
                    <a:pt x="6861" y="1896"/>
                  </a:lnTo>
                  <a:lnTo>
                    <a:pt x="6864" y="1869"/>
                  </a:lnTo>
                  <a:lnTo>
                    <a:pt x="6866" y="1840"/>
                  </a:lnTo>
                  <a:lnTo>
                    <a:pt x="6866" y="1811"/>
                  </a:lnTo>
                  <a:lnTo>
                    <a:pt x="6865" y="1783"/>
                  </a:lnTo>
                  <a:lnTo>
                    <a:pt x="6863" y="1754"/>
                  </a:lnTo>
                  <a:lnTo>
                    <a:pt x="6859" y="1724"/>
                  </a:lnTo>
                  <a:lnTo>
                    <a:pt x="6854" y="1700"/>
                  </a:lnTo>
                  <a:lnTo>
                    <a:pt x="6847" y="1673"/>
                  </a:lnTo>
                  <a:lnTo>
                    <a:pt x="6837" y="1645"/>
                  </a:lnTo>
                  <a:lnTo>
                    <a:pt x="6826" y="1617"/>
                  </a:lnTo>
                  <a:lnTo>
                    <a:pt x="6814" y="1588"/>
                  </a:lnTo>
                  <a:lnTo>
                    <a:pt x="6800" y="1557"/>
                  </a:lnTo>
                  <a:lnTo>
                    <a:pt x="6784" y="1527"/>
                  </a:lnTo>
                  <a:lnTo>
                    <a:pt x="6767" y="1495"/>
                  </a:lnTo>
                  <a:lnTo>
                    <a:pt x="6748" y="1463"/>
                  </a:lnTo>
                  <a:lnTo>
                    <a:pt x="6730" y="1430"/>
                  </a:lnTo>
                  <a:lnTo>
                    <a:pt x="6710" y="1398"/>
                  </a:lnTo>
                  <a:lnTo>
                    <a:pt x="6688" y="1364"/>
                  </a:lnTo>
                  <a:lnTo>
                    <a:pt x="6643" y="1297"/>
                  </a:lnTo>
                  <a:lnTo>
                    <a:pt x="6596" y="1230"/>
                  </a:lnTo>
                  <a:lnTo>
                    <a:pt x="6547" y="1162"/>
                  </a:lnTo>
                  <a:lnTo>
                    <a:pt x="6498" y="1097"/>
                  </a:lnTo>
                  <a:lnTo>
                    <a:pt x="6450" y="1032"/>
                  </a:lnTo>
                  <a:lnTo>
                    <a:pt x="6402" y="971"/>
                  </a:lnTo>
                  <a:lnTo>
                    <a:pt x="6357" y="913"/>
                  </a:lnTo>
                  <a:lnTo>
                    <a:pt x="6314" y="857"/>
                  </a:lnTo>
                  <a:lnTo>
                    <a:pt x="6275" y="807"/>
                  </a:lnTo>
                  <a:lnTo>
                    <a:pt x="6242" y="762"/>
                  </a:lnTo>
                  <a:lnTo>
                    <a:pt x="6199" y="705"/>
                  </a:lnTo>
                  <a:lnTo>
                    <a:pt x="6155" y="649"/>
                  </a:lnTo>
                  <a:lnTo>
                    <a:pt x="6109" y="592"/>
                  </a:lnTo>
                  <a:lnTo>
                    <a:pt x="6063" y="538"/>
                  </a:lnTo>
                  <a:lnTo>
                    <a:pt x="6039" y="511"/>
                  </a:lnTo>
                  <a:lnTo>
                    <a:pt x="6015" y="485"/>
                  </a:lnTo>
                  <a:lnTo>
                    <a:pt x="5990" y="459"/>
                  </a:lnTo>
                  <a:lnTo>
                    <a:pt x="5966" y="434"/>
                  </a:lnTo>
                  <a:lnTo>
                    <a:pt x="5940" y="408"/>
                  </a:lnTo>
                  <a:lnTo>
                    <a:pt x="5914" y="383"/>
                  </a:lnTo>
                  <a:lnTo>
                    <a:pt x="5888" y="360"/>
                  </a:lnTo>
                  <a:lnTo>
                    <a:pt x="5861" y="336"/>
                  </a:lnTo>
                  <a:lnTo>
                    <a:pt x="5834" y="314"/>
                  </a:lnTo>
                  <a:lnTo>
                    <a:pt x="5807" y="291"/>
                  </a:lnTo>
                  <a:lnTo>
                    <a:pt x="5778" y="270"/>
                  </a:lnTo>
                  <a:lnTo>
                    <a:pt x="5749" y="249"/>
                  </a:lnTo>
                  <a:lnTo>
                    <a:pt x="5720" y="229"/>
                  </a:lnTo>
                  <a:lnTo>
                    <a:pt x="5689" y="211"/>
                  </a:lnTo>
                  <a:lnTo>
                    <a:pt x="5658" y="192"/>
                  </a:lnTo>
                  <a:lnTo>
                    <a:pt x="5628" y="174"/>
                  </a:lnTo>
                  <a:lnTo>
                    <a:pt x="5596" y="157"/>
                  </a:lnTo>
                  <a:lnTo>
                    <a:pt x="5563" y="142"/>
                  </a:lnTo>
                  <a:lnTo>
                    <a:pt x="5530" y="127"/>
                  </a:lnTo>
                  <a:lnTo>
                    <a:pt x="5496" y="113"/>
                  </a:lnTo>
                  <a:lnTo>
                    <a:pt x="5461" y="100"/>
                  </a:lnTo>
                  <a:lnTo>
                    <a:pt x="5427" y="89"/>
                  </a:lnTo>
                  <a:lnTo>
                    <a:pt x="5390" y="78"/>
                  </a:lnTo>
                  <a:lnTo>
                    <a:pt x="5353" y="68"/>
                  </a:lnTo>
                  <a:lnTo>
                    <a:pt x="5315" y="60"/>
                  </a:lnTo>
                  <a:lnTo>
                    <a:pt x="5274" y="52"/>
                  </a:lnTo>
                  <a:lnTo>
                    <a:pt x="5233" y="45"/>
                  </a:lnTo>
                  <a:lnTo>
                    <a:pt x="5191" y="38"/>
                  </a:lnTo>
                  <a:lnTo>
                    <a:pt x="5147" y="32"/>
                  </a:lnTo>
                  <a:lnTo>
                    <a:pt x="5102" y="26"/>
                  </a:lnTo>
                  <a:lnTo>
                    <a:pt x="5055" y="22"/>
                  </a:lnTo>
                  <a:lnTo>
                    <a:pt x="5008" y="18"/>
                  </a:lnTo>
                  <a:lnTo>
                    <a:pt x="4912" y="11"/>
                  </a:lnTo>
                  <a:lnTo>
                    <a:pt x="4813" y="6"/>
                  </a:lnTo>
                  <a:lnTo>
                    <a:pt x="4711" y="3"/>
                  </a:lnTo>
                  <a:lnTo>
                    <a:pt x="4609" y="1"/>
                  </a:lnTo>
                  <a:lnTo>
                    <a:pt x="4506" y="0"/>
                  </a:lnTo>
                  <a:lnTo>
                    <a:pt x="4404" y="1"/>
                  </a:lnTo>
                  <a:lnTo>
                    <a:pt x="4302" y="1"/>
                  </a:lnTo>
                  <a:lnTo>
                    <a:pt x="4203" y="2"/>
                  </a:lnTo>
                  <a:lnTo>
                    <a:pt x="4105" y="4"/>
                  </a:lnTo>
                  <a:lnTo>
                    <a:pt x="4011" y="5"/>
                  </a:lnTo>
                  <a:lnTo>
                    <a:pt x="3921" y="6"/>
                  </a:lnTo>
                  <a:lnTo>
                    <a:pt x="3835" y="6"/>
                  </a:lnTo>
                  <a:lnTo>
                    <a:pt x="676" y="6"/>
                  </a:lnTo>
                  <a:lnTo>
                    <a:pt x="611" y="8"/>
                  </a:lnTo>
                  <a:lnTo>
                    <a:pt x="551" y="11"/>
                  </a:lnTo>
                  <a:lnTo>
                    <a:pt x="493" y="17"/>
                  </a:lnTo>
                  <a:lnTo>
                    <a:pt x="441" y="24"/>
                  </a:lnTo>
                  <a:lnTo>
                    <a:pt x="392" y="34"/>
                  </a:lnTo>
                  <a:lnTo>
                    <a:pt x="347" y="46"/>
                  </a:lnTo>
                  <a:lnTo>
                    <a:pt x="305" y="60"/>
                  </a:lnTo>
                  <a:lnTo>
                    <a:pt x="268" y="75"/>
                  </a:lnTo>
                  <a:lnTo>
                    <a:pt x="233" y="93"/>
                  </a:lnTo>
                  <a:lnTo>
                    <a:pt x="201" y="111"/>
                  </a:lnTo>
                  <a:lnTo>
                    <a:pt x="173" y="133"/>
                  </a:lnTo>
                  <a:lnTo>
                    <a:pt x="147" y="155"/>
                  </a:lnTo>
                  <a:lnTo>
                    <a:pt x="124" y="180"/>
                  </a:lnTo>
                  <a:lnTo>
                    <a:pt x="103" y="205"/>
                  </a:lnTo>
                  <a:lnTo>
                    <a:pt x="85" y="233"/>
                  </a:lnTo>
                  <a:lnTo>
                    <a:pt x="69" y="263"/>
                  </a:lnTo>
                  <a:lnTo>
                    <a:pt x="55" y="293"/>
                  </a:lnTo>
                  <a:lnTo>
                    <a:pt x="43" y="326"/>
                  </a:lnTo>
                  <a:lnTo>
                    <a:pt x="34" y="360"/>
                  </a:lnTo>
                  <a:lnTo>
                    <a:pt x="25" y="395"/>
                  </a:lnTo>
                  <a:lnTo>
                    <a:pt x="18" y="432"/>
                  </a:lnTo>
                  <a:lnTo>
                    <a:pt x="12" y="469"/>
                  </a:lnTo>
                  <a:lnTo>
                    <a:pt x="8" y="508"/>
                  </a:lnTo>
                  <a:lnTo>
                    <a:pt x="5" y="549"/>
                  </a:lnTo>
                  <a:lnTo>
                    <a:pt x="3" y="591"/>
                  </a:lnTo>
                  <a:lnTo>
                    <a:pt x="1" y="634"/>
                  </a:lnTo>
                  <a:lnTo>
                    <a:pt x="0" y="678"/>
                  </a:lnTo>
                  <a:lnTo>
                    <a:pt x="0" y="723"/>
                  </a:lnTo>
                  <a:lnTo>
                    <a:pt x="0" y="817"/>
                  </a:lnTo>
                  <a:lnTo>
                    <a:pt x="0" y="916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5" name="Freeform 12"/>
            <p:cNvSpPr>
              <a:spLocks/>
            </p:cNvSpPr>
            <p:nvPr userDrawn="1"/>
          </p:nvSpPr>
          <p:spPr bwMode="auto">
            <a:xfrm>
              <a:off x="5296" y="3022"/>
              <a:ext cx="143" cy="104"/>
            </a:xfrm>
            <a:custGeom>
              <a:avLst/>
              <a:gdLst/>
              <a:ahLst/>
              <a:cxnLst>
                <a:cxn ang="0">
                  <a:pos x="2992" y="2671"/>
                </a:cxn>
                <a:cxn ang="0">
                  <a:pos x="3075" y="2559"/>
                </a:cxn>
                <a:cxn ang="0">
                  <a:pos x="3160" y="2445"/>
                </a:cxn>
                <a:cxn ang="0">
                  <a:pos x="3245" y="2333"/>
                </a:cxn>
                <a:cxn ang="0">
                  <a:pos x="3329" y="2221"/>
                </a:cxn>
                <a:cxn ang="0">
                  <a:pos x="3414" y="2108"/>
                </a:cxn>
                <a:cxn ang="0">
                  <a:pos x="3498" y="1995"/>
                </a:cxn>
                <a:cxn ang="0">
                  <a:pos x="3583" y="1882"/>
                </a:cxn>
                <a:cxn ang="0">
                  <a:pos x="3669" y="1767"/>
                </a:cxn>
                <a:cxn ang="0">
                  <a:pos x="3754" y="1654"/>
                </a:cxn>
                <a:cxn ang="0">
                  <a:pos x="3839" y="1540"/>
                </a:cxn>
                <a:cxn ang="0">
                  <a:pos x="3924" y="1427"/>
                </a:cxn>
                <a:cxn ang="0">
                  <a:pos x="4009" y="1313"/>
                </a:cxn>
                <a:cxn ang="0">
                  <a:pos x="4094" y="1199"/>
                </a:cxn>
                <a:cxn ang="0">
                  <a:pos x="4180" y="1085"/>
                </a:cxn>
                <a:cxn ang="0">
                  <a:pos x="4265" y="970"/>
                </a:cxn>
                <a:cxn ang="0">
                  <a:pos x="4325" y="891"/>
                </a:cxn>
                <a:cxn ang="0">
                  <a:pos x="4389" y="805"/>
                </a:cxn>
                <a:cxn ang="0">
                  <a:pos x="4484" y="680"/>
                </a:cxn>
                <a:cxn ang="0">
                  <a:pos x="4596" y="530"/>
                </a:cxn>
                <a:cxn ang="0">
                  <a:pos x="4715" y="372"/>
                </a:cxn>
                <a:cxn ang="0">
                  <a:pos x="4824" y="224"/>
                </a:cxn>
                <a:cxn ang="0">
                  <a:pos x="4914" y="101"/>
                </a:cxn>
                <a:cxn ang="0">
                  <a:pos x="4970" y="20"/>
                </a:cxn>
                <a:cxn ang="0">
                  <a:pos x="2737" y="0"/>
                </a:cxn>
                <a:cxn ang="0">
                  <a:pos x="2722" y="11"/>
                </a:cxn>
                <a:cxn ang="0">
                  <a:pos x="2695" y="40"/>
                </a:cxn>
                <a:cxn ang="0">
                  <a:pos x="2615" y="138"/>
                </a:cxn>
                <a:cxn ang="0">
                  <a:pos x="2507" y="276"/>
                </a:cxn>
                <a:cxn ang="0">
                  <a:pos x="2388" y="435"/>
                </a:cxn>
                <a:cxn ang="0">
                  <a:pos x="2268" y="597"/>
                </a:cxn>
                <a:cxn ang="0">
                  <a:pos x="2162" y="740"/>
                </a:cxn>
                <a:cxn ang="0">
                  <a:pos x="2082" y="848"/>
                </a:cxn>
                <a:cxn ang="0">
                  <a:pos x="2043" y="901"/>
                </a:cxn>
                <a:cxn ang="0">
                  <a:pos x="1958" y="1015"/>
                </a:cxn>
                <a:cxn ang="0">
                  <a:pos x="1872" y="1130"/>
                </a:cxn>
                <a:cxn ang="0">
                  <a:pos x="1787" y="1243"/>
                </a:cxn>
                <a:cxn ang="0">
                  <a:pos x="1701" y="1357"/>
                </a:cxn>
                <a:cxn ang="0">
                  <a:pos x="1616" y="1471"/>
                </a:cxn>
                <a:cxn ang="0">
                  <a:pos x="1531" y="1585"/>
                </a:cxn>
                <a:cxn ang="0">
                  <a:pos x="1445" y="1699"/>
                </a:cxn>
                <a:cxn ang="0">
                  <a:pos x="1360" y="1812"/>
                </a:cxn>
                <a:cxn ang="0">
                  <a:pos x="314" y="3209"/>
                </a:cxn>
                <a:cxn ang="0">
                  <a:pos x="271" y="3267"/>
                </a:cxn>
                <a:cxn ang="0">
                  <a:pos x="228" y="3324"/>
                </a:cxn>
                <a:cxn ang="0">
                  <a:pos x="184" y="3382"/>
                </a:cxn>
                <a:cxn ang="0">
                  <a:pos x="145" y="3437"/>
                </a:cxn>
                <a:cxn ang="0">
                  <a:pos x="100" y="3494"/>
                </a:cxn>
                <a:cxn ang="0">
                  <a:pos x="53" y="3555"/>
                </a:cxn>
                <a:cxn ang="0">
                  <a:pos x="22" y="3598"/>
                </a:cxn>
                <a:cxn ang="0">
                  <a:pos x="7" y="3624"/>
                </a:cxn>
                <a:cxn ang="0">
                  <a:pos x="2269" y="3637"/>
                </a:cxn>
              </a:cxnLst>
              <a:rect l="0" t="0" r="r" b="b"/>
              <a:pathLst>
                <a:path w="4982" h="3637">
                  <a:moveTo>
                    <a:pt x="2949" y="2728"/>
                  </a:moveTo>
                  <a:lnTo>
                    <a:pt x="2992" y="2671"/>
                  </a:lnTo>
                  <a:lnTo>
                    <a:pt x="3033" y="2615"/>
                  </a:lnTo>
                  <a:lnTo>
                    <a:pt x="3075" y="2559"/>
                  </a:lnTo>
                  <a:lnTo>
                    <a:pt x="3118" y="2502"/>
                  </a:lnTo>
                  <a:lnTo>
                    <a:pt x="3160" y="2445"/>
                  </a:lnTo>
                  <a:lnTo>
                    <a:pt x="3202" y="2389"/>
                  </a:lnTo>
                  <a:lnTo>
                    <a:pt x="3245" y="2333"/>
                  </a:lnTo>
                  <a:lnTo>
                    <a:pt x="3287" y="2277"/>
                  </a:lnTo>
                  <a:lnTo>
                    <a:pt x="3329" y="2221"/>
                  </a:lnTo>
                  <a:lnTo>
                    <a:pt x="3372" y="2164"/>
                  </a:lnTo>
                  <a:lnTo>
                    <a:pt x="3414" y="2108"/>
                  </a:lnTo>
                  <a:lnTo>
                    <a:pt x="3455" y="2052"/>
                  </a:lnTo>
                  <a:lnTo>
                    <a:pt x="3498" y="1995"/>
                  </a:lnTo>
                  <a:lnTo>
                    <a:pt x="3541" y="1938"/>
                  </a:lnTo>
                  <a:lnTo>
                    <a:pt x="3583" y="1882"/>
                  </a:lnTo>
                  <a:lnTo>
                    <a:pt x="3626" y="1825"/>
                  </a:lnTo>
                  <a:lnTo>
                    <a:pt x="3669" y="1767"/>
                  </a:lnTo>
                  <a:lnTo>
                    <a:pt x="3712" y="1710"/>
                  </a:lnTo>
                  <a:lnTo>
                    <a:pt x="3754" y="1654"/>
                  </a:lnTo>
                  <a:lnTo>
                    <a:pt x="3797" y="1596"/>
                  </a:lnTo>
                  <a:lnTo>
                    <a:pt x="3839" y="1540"/>
                  </a:lnTo>
                  <a:lnTo>
                    <a:pt x="3881" y="1483"/>
                  </a:lnTo>
                  <a:lnTo>
                    <a:pt x="3924" y="1427"/>
                  </a:lnTo>
                  <a:lnTo>
                    <a:pt x="3966" y="1369"/>
                  </a:lnTo>
                  <a:lnTo>
                    <a:pt x="4009" y="1313"/>
                  </a:lnTo>
                  <a:lnTo>
                    <a:pt x="4052" y="1256"/>
                  </a:lnTo>
                  <a:lnTo>
                    <a:pt x="4094" y="1199"/>
                  </a:lnTo>
                  <a:lnTo>
                    <a:pt x="4137" y="1142"/>
                  </a:lnTo>
                  <a:lnTo>
                    <a:pt x="4180" y="1085"/>
                  </a:lnTo>
                  <a:lnTo>
                    <a:pt x="4223" y="1027"/>
                  </a:lnTo>
                  <a:lnTo>
                    <a:pt x="4265" y="970"/>
                  </a:lnTo>
                  <a:lnTo>
                    <a:pt x="4308" y="913"/>
                  </a:lnTo>
                  <a:lnTo>
                    <a:pt x="4325" y="891"/>
                  </a:lnTo>
                  <a:lnTo>
                    <a:pt x="4352" y="854"/>
                  </a:lnTo>
                  <a:lnTo>
                    <a:pt x="4389" y="805"/>
                  </a:lnTo>
                  <a:lnTo>
                    <a:pt x="4434" y="747"/>
                  </a:lnTo>
                  <a:lnTo>
                    <a:pt x="4484" y="680"/>
                  </a:lnTo>
                  <a:lnTo>
                    <a:pt x="4539" y="607"/>
                  </a:lnTo>
                  <a:lnTo>
                    <a:pt x="4596" y="530"/>
                  </a:lnTo>
                  <a:lnTo>
                    <a:pt x="4656" y="451"/>
                  </a:lnTo>
                  <a:lnTo>
                    <a:pt x="4715" y="372"/>
                  </a:lnTo>
                  <a:lnTo>
                    <a:pt x="4771" y="296"/>
                  </a:lnTo>
                  <a:lnTo>
                    <a:pt x="4824" y="224"/>
                  </a:lnTo>
                  <a:lnTo>
                    <a:pt x="4873" y="158"/>
                  </a:lnTo>
                  <a:lnTo>
                    <a:pt x="4914" y="101"/>
                  </a:lnTo>
                  <a:lnTo>
                    <a:pt x="4947" y="54"/>
                  </a:lnTo>
                  <a:lnTo>
                    <a:pt x="4970" y="20"/>
                  </a:lnTo>
                  <a:lnTo>
                    <a:pt x="4982" y="1"/>
                  </a:lnTo>
                  <a:lnTo>
                    <a:pt x="2737" y="0"/>
                  </a:lnTo>
                  <a:lnTo>
                    <a:pt x="2731" y="4"/>
                  </a:lnTo>
                  <a:lnTo>
                    <a:pt x="2722" y="11"/>
                  </a:lnTo>
                  <a:lnTo>
                    <a:pt x="2711" y="23"/>
                  </a:lnTo>
                  <a:lnTo>
                    <a:pt x="2695" y="40"/>
                  </a:lnTo>
                  <a:lnTo>
                    <a:pt x="2660" y="83"/>
                  </a:lnTo>
                  <a:lnTo>
                    <a:pt x="2615" y="138"/>
                  </a:lnTo>
                  <a:lnTo>
                    <a:pt x="2564" y="203"/>
                  </a:lnTo>
                  <a:lnTo>
                    <a:pt x="2507" y="276"/>
                  </a:lnTo>
                  <a:lnTo>
                    <a:pt x="2448" y="354"/>
                  </a:lnTo>
                  <a:lnTo>
                    <a:pt x="2388" y="435"/>
                  </a:lnTo>
                  <a:lnTo>
                    <a:pt x="2327" y="517"/>
                  </a:lnTo>
                  <a:lnTo>
                    <a:pt x="2268" y="597"/>
                  </a:lnTo>
                  <a:lnTo>
                    <a:pt x="2212" y="671"/>
                  </a:lnTo>
                  <a:lnTo>
                    <a:pt x="2162" y="740"/>
                  </a:lnTo>
                  <a:lnTo>
                    <a:pt x="2118" y="800"/>
                  </a:lnTo>
                  <a:lnTo>
                    <a:pt x="2082" y="848"/>
                  </a:lnTo>
                  <a:lnTo>
                    <a:pt x="2057" y="883"/>
                  </a:lnTo>
                  <a:lnTo>
                    <a:pt x="2043" y="901"/>
                  </a:lnTo>
                  <a:lnTo>
                    <a:pt x="2001" y="959"/>
                  </a:lnTo>
                  <a:lnTo>
                    <a:pt x="1958" y="1015"/>
                  </a:lnTo>
                  <a:lnTo>
                    <a:pt x="1915" y="1072"/>
                  </a:lnTo>
                  <a:lnTo>
                    <a:pt x="1872" y="1130"/>
                  </a:lnTo>
                  <a:lnTo>
                    <a:pt x="1829" y="1186"/>
                  </a:lnTo>
                  <a:lnTo>
                    <a:pt x="1787" y="1243"/>
                  </a:lnTo>
                  <a:lnTo>
                    <a:pt x="1744" y="1300"/>
                  </a:lnTo>
                  <a:lnTo>
                    <a:pt x="1701" y="1357"/>
                  </a:lnTo>
                  <a:lnTo>
                    <a:pt x="1658" y="1414"/>
                  </a:lnTo>
                  <a:lnTo>
                    <a:pt x="1616" y="1471"/>
                  </a:lnTo>
                  <a:lnTo>
                    <a:pt x="1573" y="1528"/>
                  </a:lnTo>
                  <a:lnTo>
                    <a:pt x="1531" y="1585"/>
                  </a:lnTo>
                  <a:lnTo>
                    <a:pt x="1488" y="1641"/>
                  </a:lnTo>
                  <a:lnTo>
                    <a:pt x="1445" y="1699"/>
                  </a:lnTo>
                  <a:lnTo>
                    <a:pt x="1402" y="1756"/>
                  </a:lnTo>
                  <a:lnTo>
                    <a:pt x="1360" y="1812"/>
                  </a:lnTo>
                  <a:lnTo>
                    <a:pt x="336" y="3180"/>
                  </a:lnTo>
                  <a:lnTo>
                    <a:pt x="314" y="3209"/>
                  </a:lnTo>
                  <a:lnTo>
                    <a:pt x="293" y="3238"/>
                  </a:lnTo>
                  <a:lnTo>
                    <a:pt x="271" y="3267"/>
                  </a:lnTo>
                  <a:lnTo>
                    <a:pt x="250" y="3295"/>
                  </a:lnTo>
                  <a:lnTo>
                    <a:pt x="228" y="3324"/>
                  </a:lnTo>
                  <a:lnTo>
                    <a:pt x="207" y="3353"/>
                  </a:lnTo>
                  <a:lnTo>
                    <a:pt x="184" y="3382"/>
                  </a:lnTo>
                  <a:lnTo>
                    <a:pt x="163" y="3412"/>
                  </a:lnTo>
                  <a:lnTo>
                    <a:pt x="145" y="3437"/>
                  </a:lnTo>
                  <a:lnTo>
                    <a:pt x="122" y="3463"/>
                  </a:lnTo>
                  <a:lnTo>
                    <a:pt x="100" y="3494"/>
                  </a:lnTo>
                  <a:lnTo>
                    <a:pt x="75" y="3525"/>
                  </a:lnTo>
                  <a:lnTo>
                    <a:pt x="53" y="3555"/>
                  </a:lnTo>
                  <a:lnTo>
                    <a:pt x="31" y="3584"/>
                  </a:lnTo>
                  <a:lnTo>
                    <a:pt x="22" y="3598"/>
                  </a:lnTo>
                  <a:lnTo>
                    <a:pt x="14" y="3612"/>
                  </a:lnTo>
                  <a:lnTo>
                    <a:pt x="7" y="3624"/>
                  </a:lnTo>
                  <a:lnTo>
                    <a:pt x="0" y="3635"/>
                  </a:lnTo>
                  <a:lnTo>
                    <a:pt x="2269" y="3637"/>
                  </a:lnTo>
                  <a:lnTo>
                    <a:pt x="2949" y="2728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0519851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8591550" y="4869657"/>
            <a:ext cx="552450" cy="273844"/>
          </a:xfrm>
          <a:prstGeom prst="rect">
            <a:avLst/>
          </a:prstGeom>
          <a:solidFill>
            <a:srgbClr val="E21A1A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C806E5D-40B9-48AA-AED3-3EF30A97FA38}" type="slidenum">
              <a:rPr lang="ru-RU" smtClean="0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pPr/>
              <a:t>‹#›</a:t>
            </a:fld>
            <a:endParaRPr lang="ru-RU" dirty="0">
              <a:solidFill>
                <a:prstClr val="white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313779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195486"/>
            <a:ext cx="8568952" cy="8208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244224" y="1354836"/>
            <a:ext cx="8529889" cy="32956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33210171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28650" y="4767267"/>
            <a:ext cx="2057400" cy="274637"/>
          </a:xfrm>
          <a:prstGeom prst="rect">
            <a:avLst/>
          </a:prstGeom>
        </p:spPr>
        <p:txBody>
          <a:bodyPr lIns="91396" tIns="45697" rIns="91396" bIns="45697"/>
          <a:lstStyle>
            <a:lvl1pPr>
              <a:defRPr/>
            </a:lvl1pPr>
          </a:lstStyle>
          <a:p>
            <a:pPr defTabSz="914333"/>
            <a:endParaRPr lang="ru-RU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028950" y="4767267"/>
            <a:ext cx="3086100" cy="274637"/>
          </a:xfrm>
          <a:prstGeom prst="rect">
            <a:avLst/>
          </a:prstGeom>
        </p:spPr>
        <p:txBody>
          <a:bodyPr lIns="91396" tIns="45697" rIns="91396" bIns="45697"/>
          <a:lstStyle>
            <a:lvl1pPr>
              <a:defRPr/>
            </a:lvl1pPr>
          </a:lstStyle>
          <a:p>
            <a:pPr defTabSz="914333"/>
            <a:r>
              <a:rPr lang="ru-RU" smtClean="0">
                <a:solidFill>
                  <a:prstClr val="black"/>
                </a:solidFill>
                <a:cs typeface="Arial" pitchFamily="34" charset="0"/>
              </a:rPr>
              <a:t>1</a:t>
            </a:r>
            <a:endParaRPr lang="ru-RU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04249" y="631900"/>
            <a:ext cx="2057400" cy="27463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247BE04C-0A62-48EE-9C63-4203BB14929B}" type="slidenum">
              <a:rPr lang="ru-RU">
                <a:solidFill>
                  <a:srgbClr val="E7E6E6">
                    <a:lumMod val="25000"/>
                  </a:srgbClr>
                </a:solidFill>
              </a:rPr>
              <a:pPr/>
              <a:t>‹#›</a:t>
            </a:fld>
            <a:endParaRPr lang="ru-RU">
              <a:solidFill>
                <a:srgbClr val="E7E6E6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608168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195486"/>
            <a:ext cx="8568952" cy="8208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244223" y="1354836"/>
            <a:ext cx="8529889" cy="32956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195486"/>
            <a:ext cx="8568952" cy="8208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244223" y="1354836"/>
            <a:ext cx="8529889" cy="32956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195486"/>
            <a:ext cx="8568952" cy="8208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244223" y="1354836"/>
            <a:ext cx="8529889" cy="32956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95197B86-2299-49C5-943C-4D8011CE9A14}" type="datetimeFigureOut">
              <a:rPr lang="ru-RU" smtClean="0"/>
              <a:pPr/>
              <a:t>15.01.202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63B17F-9B26-46E7-9FD4-F5CB10F5D71E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195486"/>
            <a:ext cx="8229600" cy="8208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244224" y="1354836"/>
            <a:ext cx="7094790" cy="329563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2"/>
          </p:nvPr>
        </p:nvSpPr>
        <p:spPr>
          <a:xfrm>
            <a:off x="7457655" y="1408859"/>
            <a:ext cx="1316459" cy="324161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>
                <a:solidFill>
                  <a:schemeClr val="accent6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65275527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64832-CE18-488F-B9C5-395821014EB5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64832-CE18-488F-B9C5-395821014EB5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900113"/>
            <a:ext cx="4038600" cy="2545556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900113"/>
            <a:ext cx="4038600" cy="2545556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64832-CE18-488F-B9C5-395821014EB5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64832-CE18-488F-B9C5-395821014EB5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64832-CE18-488F-B9C5-395821014EB5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64832-CE18-488F-B9C5-395821014EB5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64832-CE18-488F-B9C5-395821014EB5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64832-CE18-488F-B9C5-395821014EB5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64832-CE18-488F-B9C5-395821014EB5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154781"/>
            <a:ext cx="2057400" cy="329088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54781"/>
            <a:ext cx="6019800" cy="329088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64832-CE18-488F-B9C5-395821014EB5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195486"/>
            <a:ext cx="8229600" cy="8208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244224" y="1354836"/>
            <a:ext cx="8529889" cy="32956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84636600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7"/>
          <p:cNvSpPr>
            <a:spLocks noChangeArrowheads="1"/>
          </p:cNvSpPr>
          <p:nvPr userDrawn="1"/>
        </p:nvSpPr>
        <p:spPr bwMode="auto">
          <a:xfrm>
            <a:off x="0" y="4856163"/>
            <a:ext cx="9144000" cy="28733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  <a:latin typeface="Verdana"/>
              <a:cs typeface="Arial" panose="020B06040202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 flipV="1">
            <a:off x="0" y="0"/>
            <a:ext cx="9144000" cy="701675"/>
          </a:xfrm>
          <a:prstGeom prst="rect">
            <a:avLst/>
          </a:prstGeom>
          <a:solidFill>
            <a:srgbClr val="BFC5CE"/>
          </a:solidFill>
          <a:ln w="9525" cap="flat" cmpd="sng" algn="ctr">
            <a:noFill/>
            <a:prstDash val="solid"/>
          </a:ln>
          <a:effectLst/>
        </p:spPr>
        <p:txBody>
          <a:bodyPr lIns="68580" tIns="34290" rIns="68580" bIns="3429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kern="0">
              <a:solidFill>
                <a:prstClr val="white"/>
              </a:solidFill>
              <a:latin typeface="Verdana"/>
              <a:cs typeface="+mn-cs"/>
            </a:endParaRPr>
          </a:p>
        </p:txBody>
      </p:sp>
      <p:sp>
        <p:nvSpPr>
          <p:cNvPr id="13" name="Text Box 10"/>
          <p:cNvSpPr txBox="1">
            <a:spLocks noChangeArrowheads="1"/>
          </p:cNvSpPr>
          <p:nvPr userDrawn="1"/>
        </p:nvSpPr>
        <p:spPr bwMode="auto">
          <a:xfrm>
            <a:off x="225029" y="4946287"/>
            <a:ext cx="230187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fld id="{2374F2AF-8B51-41D9-B382-7B85B102C64D}" type="slidenum">
              <a:rPr lang="en-US" sz="800" smtClean="0">
                <a:solidFill>
                  <a:prstClr val="black"/>
                </a:solidFill>
                <a:latin typeface="Verdana" panose="020B0604030504040204" pitchFamily="34" charset="0"/>
                <a:ea typeface="MS PGothic" panose="020B0600070205080204" pitchFamily="34" charset="-128"/>
              </a:rPr>
              <a:pPr algn="ctr" eaLnBrk="1" hangingPunct="1">
                <a:spcBef>
                  <a:spcPct val="50000"/>
                </a:spcBef>
              </a:pPr>
              <a:t>‹#›</a:t>
            </a:fld>
            <a:endParaRPr lang="en-US" sz="800" dirty="0">
              <a:solidFill>
                <a:prstClr val="black"/>
              </a:solidFill>
              <a:latin typeface="Verdana" panose="020B0604030504040204" pitchFamily="34" charset="0"/>
              <a:ea typeface="MS PGothic" panose="020B0600070205080204" pitchFamily="34" charset="-128"/>
            </a:endParaRPr>
          </a:p>
        </p:txBody>
      </p:sp>
      <p:grpSp>
        <p:nvGrpSpPr>
          <p:cNvPr id="3" name="Группа 10"/>
          <p:cNvGrpSpPr>
            <a:grpSpLocks noChangeAspect="1"/>
          </p:cNvGrpSpPr>
          <p:nvPr userDrawn="1"/>
        </p:nvGrpSpPr>
        <p:grpSpPr bwMode="auto">
          <a:xfrm>
            <a:off x="8496300" y="4931569"/>
            <a:ext cx="306388" cy="136525"/>
            <a:chOff x="5385680" y="6487509"/>
            <a:chExt cx="1039813" cy="461962"/>
          </a:xfrm>
        </p:grpSpPr>
        <p:sp>
          <p:nvSpPr>
            <p:cNvPr id="15" name="Freeform 27"/>
            <p:cNvSpPr>
              <a:spLocks/>
            </p:cNvSpPr>
            <p:nvPr userDrawn="1"/>
          </p:nvSpPr>
          <p:spPr bwMode="auto">
            <a:xfrm>
              <a:off x="6048359" y="6487509"/>
              <a:ext cx="377134" cy="343786"/>
            </a:xfrm>
            <a:custGeom>
              <a:avLst/>
              <a:gdLst>
                <a:gd name="T0" fmla="*/ 2147483647 w 1195"/>
                <a:gd name="T1" fmla="*/ 2147483647 h 1091"/>
                <a:gd name="T2" fmla="*/ 2147483647 w 1195"/>
                <a:gd name="T3" fmla="*/ 2147483647 h 1091"/>
                <a:gd name="T4" fmla="*/ 2147483647 w 1195"/>
                <a:gd name="T5" fmla="*/ 2147483647 h 1091"/>
                <a:gd name="T6" fmla="*/ 2147483647 w 1195"/>
                <a:gd name="T7" fmla="*/ 2147483647 h 1091"/>
                <a:gd name="T8" fmla="*/ 2147483647 w 1195"/>
                <a:gd name="T9" fmla="*/ 2147483647 h 1091"/>
                <a:gd name="T10" fmla="*/ 2147483647 w 1195"/>
                <a:gd name="T11" fmla="*/ 2147483647 h 1091"/>
                <a:gd name="T12" fmla="*/ 2147483647 w 1195"/>
                <a:gd name="T13" fmla="*/ 2147483647 h 1091"/>
                <a:gd name="T14" fmla="*/ 2147483647 w 1195"/>
                <a:gd name="T15" fmla="*/ 2147483647 h 1091"/>
                <a:gd name="T16" fmla="*/ 2147483647 w 1195"/>
                <a:gd name="T17" fmla="*/ 2147483647 h 1091"/>
                <a:gd name="T18" fmla="*/ 2147483647 w 1195"/>
                <a:gd name="T19" fmla="*/ 2147483647 h 1091"/>
                <a:gd name="T20" fmla="*/ 2147483647 w 1195"/>
                <a:gd name="T21" fmla="*/ 2147483647 h 1091"/>
                <a:gd name="T22" fmla="*/ 2147483647 w 1195"/>
                <a:gd name="T23" fmla="*/ 2147483647 h 1091"/>
                <a:gd name="T24" fmla="*/ 2147483647 w 1195"/>
                <a:gd name="T25" fmla="*/ 2147483647 h 1091"/>
                <a:gd name="T26" fmla="*/ 2147483647 w 1195"/>
                <a:gd name="T27" fmla="*/ 2147483647 h 1091"/>
                <a:gd name="T28" fmla="*/ 2147483647 w 1195"/>
                <a:gd name="T29" fmla="*/ 2147483647 h 1091"/>
                <a:gd name="T30" fmla="*/ 2147483647 w 1195"/>
                <a:gd name="T31" fmla="*/ 2147483647 h 1091"/>
                <a:gd name="T32" fmla="*/ 2147483647 w 1195"/>
                <a:gd name="T33" fmla="*/ 2147483647 h 1091"/>
                <a:gd name="T34" fmla="*/ 2147483647 w 1195"/>
                <a:gd name="T35" fmla="*/ 2147483647 h 1091"/>
                <a:gd name="T36" fmla="*/ 2147483647 w 1195"/>
                <a:gd name="T37" fmla="*/ 2147483647 h 1091"/>
                <a:gd name="T38" fmla="*/ 2147483647 w 1195"/>
                <a:gd name="T39" fmla="*/ 2147483647 h 1091"/>
                <a:gd name="T40" fmla="*/ 2147483647 w 1195"/>
                <a:gd name="T41" fmla="*/ 2147483647 h 1091"/>
                <a:gd name="T42" fmla="*/ 2147483647 w 1195"/>
                <a:gd name="T43" fmla="*/ 2147483647 h 1091"/>
                <a:gd name="T44" fmla="*/ 2147483647 w 1195"/>
                <a:gd name="T45" fmla="*/ 2147483647 h 1091"/>
                <a:gd name="T46" fmla="*/ 2147483647 w 1195"/>
                <a:gd name="T47" fmla="*/ 2147483647 h 1091"/>
                <a:gd name="T48" fmla="*/ 2147483647 w 1195"/>
                <a:gd name="T49" fmla="*/ 2147483647 h 1091"/>
                <a:gd name="T50" fmla="*/ 2147483647 w 1195"/>
                <a:gd name="T51" fmla="*/ 2147483647 h 1091"/>
                <a:gd name="T52" fmla="*/ 2147483647 w 1195"/>
                <a:gd name="T53" fmla="*/ 2147483647 h 1091"/>
                <a:gd name="T54" fmla="*/ 2147483647 w 1195"/>
                <a:gd name="T55" fmla="*/ 2147483647 h 1091"/>
                <a:gd name="T56" fmla="*/ 2147483647 w 1195"/>
                <a:gd name="T57" fmla="*/ 2147483647 h 1091"/>
                <a:gd name="T58" fmla="*/ 2147483647 w 1195"/>
                <a:gd name="T59" fmla="*/ 2147483647 h 1091"/>
                <a:gd name="T60" fmla="*/ 2147483647 w 1195"/>
                <a:gd name="T61" fmla="*/ 2147483647 h 1091"/>
                <a:gd name="T62" fmla="*/ 2147483647 w 1195"/>
                <a:gd name="T63" fmla="*/ 2147483647 h 1091"/>
                <a:gd name="T64" fmla="*/ 2147483647 w 1195"/>
                <a:gd name="T65" fmla="*/ 2147483647 h 1091"/>
                <a:gd name="T66" fmla="*/ 2147483647 w 1195"/>
                <a:gd name="T67" fmla="*/ 2147483647 h 1091"/>
                <a:gd name="T68" fmla="*/ 2147483647 w 1195"/>
                <a:gd name="T69" fmla="*/ 2147483647 h 1091"/>
                <a:gd name="T70" fmla="*/ 2147483647 w 1195"/>
                <a:gd name="T71" fmla="*/ 2147483647 h 1091"/>
                <a:gd name="T72" fmla="*/ 2147483647 w 1195"/>
                <a:gd name="T73" fmla="*/ 2147483647 h 1091"/>
                <a:gd name="T74" fmla="*/ 2147483647 w 1195"/>
                <a:gd name="T75" fmla="*/ 2147483647 h 1091"/>
                <a:gd name="T76" fmla="*/ 2147483647 w 1195"/>
                <a:gd name="T77" fmla="*/ 2147483647 h 1091"/>
                <a:gd name="T78" fmla="*/ 2147483647 w 1195"/>
                <a:gd name="T79" fmla="*/ 2147483647 h 1091"/>
                <a:gd name="T80" fmla="*/ 2147483647 w 1195"/>
                <a:gd name="T81" fmla="*/ 2147483647 h 1091"/>
                <a:gd name="T82" fmla="*/ 2147483647 w 1195"/>
                <a:gd name="T83" fmla="*/ 2147483647 h 1091"/>
                <a:gd name="T84" fmla="*/ 2147483647 w 1195"/>
                <a:gd name="T85" fmla="*/ 2147483647 h 1091"/>
                <a:gd name="T86" fmla="*/ 2147483647 w 1195"/>
                <a:gd name="T87" fmla="*/ 2147483647 h 1091"/>
                <a:gd name="T88" fmla="*/ 2147483647 w 1195"/>
                <a:gd name="T89" fmla="*/ 2147483647 h 1091"/>
                <a:gd name="T90" fmla="*/ 2147483647 w 1195"/>
                <a:gd name="T91" fmla="*/ 0 h 1091"/>
                <a:gd name="T92" fmla="*/ 2147483647 w 1195"/>
                <a:gd name="T93" fmla="*/ 2147483647 h 1091"/>
                <a:gd name="T94" fmla="*/ 2147483647 w 1195"/>
                <a:gd name="T95" fmla="*/ 2147483647 h 1091"/>
                <a:gd name="T96" fmla="*/ 2147483647 w 1195"/>
                <a:gd name="T97" fmla="*/ 2147483647 h 1091"/>
                <a:gd name="T98" fmla="*/ 2147483647 w 1195"/>
                <a:gd name="T99" fmla="*/ 2147483647 h 1091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  <a:latin typeface="Trebuchet MS"/>
                <a:cs typeface="Arial" panose="020B0604020202020204" pitchFamily="34" charset="0"/>
              </a:endParaRPr>
            </a:p>
          </p:txBody>
        </p:sp>
        <p:sp>
          <p:nvSpPr>
            <p:cNvPr id="16" name="Freeform 28"/>
            <p:cNvSpPr>
              <a:spLocks/>
            </p:cNvSpPr>
            <p:nvPr userDrawn="1"/>
          </p:nvSpPr>
          <p:spPr bwMode="auto">
            <a:xfrm>
              <a:off x="5773589" y="6605685"/>
              <a:ext cx="317871" cy="225609"/>
            </a:xfrm>
            <a:custGeom>
              <a:avLst/>
              <a:gdLst>
                <a:gd name="T0" fmla="*/ 2147483647 w 1002"/>
                <a:gd name="T1" fmla="*/ 0 h 727"/>
                <a:gd name="T2" fmla="*/ 2147483647 w 1002"/>
                <a:gd name="T3" fmla="*/ 0 h 727"/>
                <a:gd name="T4" fmla="*/ 2147483647 w 1002"/>
                <a:gd name="T5" fmla="*/ 2147483647 h 727"/>
                <a:gd name="T6" fmla="*/ 0 w 1002"/>
                <a:gd name="T7" fmla="*/ 2147483647 h 727"/>
                <a:gd name="T8" fmla="*/ 2147483647 w 1002"/>
                <a:gd name="T9" fmla="*/ 0 h 72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  <a:latin typeface="Trebuchet MS"/>
                <a:cs typeface="Arial" panose="020B0604020202020204" pitchFamily="34" charset="0"/>
              </a:endParaRPr>
            </a:p>
          </p:txBody>
        </p:sp>
        <p:sp>
          <p:nvSpPr>
            <p:cNvPr id="17" name="Freeform 29"/>
            <p:cNvSpPr>
              <a:spLocks/>
            </p:cNvSpPr>
            <p:nvPr userDrawn="1"/>
          </p:nvSpPr>
          <p:spPr bwMode="auto">
            <a:xfrm>
              <a:off x="5385680" y="6605685"/>
              <a:ext cx="436399" cy="343786"/>
            </a:xfrm>
            <a:custGeom>
              <a:avLst/>
              <a:gdLst>
                <a:gd name="T0" fmla="*/ 0 w 1377"/>
                <a:gd name="T1" fmla="*/ 2147483647 h 1091"/>
                <a:gd name="T2" fmla="*/ 2147483647 w 1377"/>
                <a:gd name="T3" fmla="*/ 2147483647 h 1091"/>
                <a:gd name="T4" fmla="*/ 2147483647 w 1377"/>
                <a:gd name="T5" fmla="*/ 2147483647 h 1091"/>
                <a:gd name="T6" fmla="*/ 2147483647 w 1377"/>
                <a:gd name="T7" fmla="*/ 2147483647 h 1091"/>
                <a:gd name="T8" fmla="*/ 2147483647 w 1377"/>
                <a:gd name="T9" fmla="*/ 2147483647 h 1091"/>
                <a:gd name="T10" fmla="*/ 2147483647 w 1377"/>
                <a:gd name="T11" fmla="*/ 0 h 1091"/>
                <a:gd name="T12" fmla="*/ 2147483647 w 1377"/>
                <a:gd name="T13" fmla="*/ 0 h 1091"/>
                <a:gd name="T14" fmla="*/ 2147483647 w 1377"/>
                <a:gd name="T15" fmla="*/ 0 h 1091"/>
                <a:gd name="T16" fmla="*/ 2147483647 w 1377"/>
                <a:gd name="T17" fmla="*/ 2147483647 h 1091"/>
                <a:gd name="T18" fmla="*/ 2147483647 w 1377"/>
                <a:gd name="T19" fmla="*/ 2147483647 h 1091"/>
                <a:gd name="T20" fmla="*/ 2147483647 w 1377"/>
                <a:gd name="T21" fmla="*/ 2147483647 h 1091"/>
                <a:gd name="T22" fmla="*/ 2147483647 w 1377"/>
                <a:gd name="T23" fmla="*/ 2147483647 h 1091"/>
                <a:gd name="T24" fmla="*/ 2147483647 w 1377"/>
                <a:gd name="T25" fmla="*/ 2147483647 h 1091"/>
                <a:gd name="T26" fmla="*/ 2147483647 w 1377"/>
                <a:gd name="T27" fmla="*/ 2147483647 h 1091"/>
                <a:gd name="T28" fmla="*/ 2147483647 w 1377"/>
                <a:gd name="T29" fmla="*/ 2147483647 h 1091"/>
                <a:gd name="T30" fmla="*/ 2147483647 w 1377"/>
                <a:gd name="T31" fmla="*/ 2147483647 h 1091"/>
                <a:gd name="T32" fmla="*/ 2147483647 w 1377"/>
                <a:gd name="T33" fmla="*/ 2147483647 h 1091"/>
                <a:gd name="T34" fmla="*/ 2147483647 w 1377"/>
                <a:gd name="T35" fmla="*/ 2147483647 h 1091"/>
                <a:gd name="T36" fmla="*/ 2147483647 w 1377"/>
                <a:gd name="T37" fmla="*/ 2147483647 h 1091"/>
                <a:gd name="T38" fmla="*/ 2147483647 w 1377"/>
                <a:gd name="T39" fmla="*/ 2147483647 h 1091"/>
                <a:gd name="T40" fmla="*/ 2147483647 w 1377"/>
                <a:gd name="T41" fmla="*/ 2147483647 h 1091"/>
                <a:gd name="T42" fmla="*/ 2147483647 w 1377"/>
                <a:gd name="T43" fmla="*/ 2147483647 h 1091"/>
                <a:gd name="T44" fmla="*/ 2147483647 w 1377"/>
                <a:gd name="T45" fmla="*/ 2147483647 h 1091"/>
                <a:gd name="T46" fmla="*/ 2147483647 w 1377"/>
                <a:gd name="T47" fmla="*/ 2147483647 h 1091"/>
                <a:gd name="T48" fmla="*/ 2147483647 w 1377"/>
                <a:gd name="T49" fmla="*/ 2147483647 h 1091"/>
                <a:gd name="T50" fmla="*/ 2147483647 w 1377"/>
                <a:gd name="T51" fmla="*/ 2147483647 h 1091"/>
                <a:gd name="T52" fmla="*/ 2147483647 w 1377"/>
                <a:gd name="T53" fmla="*/ 2147483647 h 1091"/>
                <a:gd name="T54" fmla="*/ 2147483647 w 1377"/>
                <a:gd name="T55" fmla="*/ 2147483647 h 1091"/>
                <a:gd name="T56" fmla="*/ 2147483647 w 1377"/>
                <a:gd name="T57" fmla="*/ 2147483647 h 1091"/>
                <a:gd name="T58" fmla="*/ 2147483647 w 1377"/>
                <a:gd name="T59" fmla="*/ 2147483647 h 1091"/>
                <a:gd name="T60" fmla="*/ 2147483647 w 1377"/>
                <a:gd name="T61" fmla="*/ 2147483647 h 1091"/>
                <a:gd name="T62" fmla="*/ 2147483647 w 1377"/>
                <a:gd name="T63" fmla="*/ 2147483647 h 1091"/>
                <a:gd name="T64" fmla="*/ 2147483647 w 1377"/>
                <a:gd name="T65" fmla="*/ 2147483647 h 1091"/>
                <a:gd name="T66" fmla="*/ 2147483647 w 1377"/>
                <a:gd name="T67" fmla="*/ 2147483647 h 1091"/>
                <a:gd name="T68" fmla="*/ 0 w 1377"/>
                <a:gd name="T69" fmla="*/ 2147483647 h 1091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  <a:latin typeface="Trebuchet MS"/>
                <a:cs typeface="Arial" panose="020B0604020202020204" pitchFamily="34" charset="0"/>
              </a:endParaRPr>
            </a:p>
          </p:txBody>
        </p:sp>
      </p:grp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25028" y="-1"/>
            <a:ext cx="7886700" cy="702000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00000"/>
              </a:lnSpc>
              <a:defRPr sz="1100" b="1"/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90339446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402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2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3092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43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5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5924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8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3"/>
            <a:ext cx="9144000" cy="529824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1" y="4945856"/>
            <a:ext cx="406400" cy="13454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494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977"/>
              <a:ext cx="316818" cy="233026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977"/>
              <a:ext cx="434611" cy="347494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3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62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defTabSz="914355">
              <a:defRPr/>
            </a:lvl1pPr>
          </a:lstStyle>
          <a:p>
            <a:pPr>
              <a:defRPr/>
            </a:pPr>
            <a:fld id="{EC893051-36D8-4DC4-8428-11F2E41FE0D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>
            <a:lvl1pPr defTabSz="914355"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black">
                  <a:tint val="75000"/>
                </a:prstClr>
              </a:solidFill>
              <a:latin typeface="Trebuchet MS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601959"/>
      </p:ext>
    </p:extLst>
  </p:cSld>
  <p:clrMapOvr>
    <a:masterClrMapping/>
  </p:clrMapOvr>
  <p:transition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3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3092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43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5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5924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8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3"/>
            <a:ext cx="9144000" cy="529824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1" y="4945856"/>
            <a:ext cx="406400" cy="13454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494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977"/>
              <a:ext cx="316818" cy="233026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977"/>
              <a:ext cx="434611" cy="347494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3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62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defTabSz="914355">
              <a:defRPr/>
            </a:lvl1pPr>
          </a:lstStyle>
          <a:p>
            <a:pPr>
              <a:defRPr/>
            </a:pPr>
            <a:fld id="{EC893051-36D8-4DC4-8428-11F2E41FE0D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>
            <a:lvl1pPr defTabSz="914355"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black">
                  <a:tint val="75000"/>
                </a:prstClr>
              </a:solidFill>
              <a:latin typeface="Trebuchet MS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601959"/>
      </p:ext>
    </p:extLst>
  </p:cSld>
  <p:clrMapOvr>
    <a:masterClrMapping/>
  </p:clrMapOvr>
  <p:transition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3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3092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43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5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5924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8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3"/>
            <a:ext cx="9144000" cy="529824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1" y="4945856"/>
            <a:ext cx="406400" cy="13454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494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977"/>
              <a:ext cx="316818" cy="233026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977"/>
              <a:ext cx="434611" cy="347494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3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62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defTabSz="914355">
              <a:defRPr/>
            </a:lvl1pPr>
          </a:lstStyle>
          <a:p>
            <a:pPr>
              <a:defRPr/>
            </a:pPr>
            <a:fld id="{EC893051-36D8-4DC4-8428-11F2E41FE0D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>
            <a:lvl1pPr defTabSz="914355"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black">
                  <a:tint val="75000"/>
                </a:prstClr>
              </a:solidFill>
              <a:latin typeface="Trebuchet MS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601959"/>
      </p:ext>
    </p:extLst>
  </p:cSld>
  <p:clrMapOvr>
    <a:masterClrMapping/>
  </p:clrMapOvr>
  <p:transition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8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5048" y="-13097"/>
            <a:ext cx="366713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5048" y="261938"/>
            <a:ext cx="366713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5048" y="536973"/>
            <a:ext cx="366713" cy="27384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5048" y="810816"/>
            <a:ext cx="366713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5048" y="1085850"/>
            <a:ext cx="366713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5048" y="1360885"/>
            <a:ext cx="366713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5048" y="1637110"/>
            <a:ext cx="366713" cy="273844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5048" y="1909763"/>
            <a:ext cx="366713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0"/>
            <a:ext cx="9144000" cy="48458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0" y="4944667"/>
            <a:ext cx="406004" cy="13573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380" y="6487509"/>
              <a:ext cx="378113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49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991" y="6600973"/>
              <a:ext cx="317127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49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6051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49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3"/>
            <a:ext cx="8458241" cy="766001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60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6553200" y="4767263"/>
            <a:ext cx="2133600" cy="275035"/>
          </a:xfrm>
        </p:spPr>
        <p:txBody>
          <a:bodyPr/>
          <a:lstStyle>
            <a:lvl1pPr defTabSz="685715"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>
                    <a:tint val="75000"/>
                  </a:prstClr>
                </a:solidFill>
                <a:cs typeface="+mn-cs"/>
              </a:defRPr>
            </a:lvl1pPr>
          </a:lstStyle>
          <a:p>
            <a:pPr>
              <a:defRPr/>
            </a:pPr>
            <a:fld id="{14CCD9AB-F04C-4F12-AC26-257169738CA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3"/>
            <a:ext cx="2895600" cy="275035"/>
          </a:xfrm>
          <a:prstGeom prst="rect">
            <a:avLst/>
          </a:prstGeom>
        </p:spPr>
        <p:txBody>
          <a:bodyPr/>
          <a:lstStyle>
            <a:lvl1pPr defTabSz="685715"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>
                    <a:tint val="75000"/>
                  </a:prstClr>
                </a:solidFill>
                <a:cs typeface="+mn-cs"/>
              </a:defRPr>
            </a:lvl1pPr>
          </a:lstStyle>
          <a:p>
            <a:pPr>
              <a:defRPr/>
            </a:pPr>
            <a:endParaRPr lang="en-US">
              <a:latin typeface="Trebuchet MS"/>
            </a:endParaRPr>
          </a:p>
        </p:txBody>
      </p:sp>
    </p:spTree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8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5048" y="-13097"/>
            <a:ext cx="366713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5048" y="261938"/>
            <a:ext cx="366713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5048" y="536973"/>
            <a:ext cx="366713" cy="27384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5048" y="810816"/>
            <a:ext cx="366713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5048" y="1085850"/>
            <a:ext cx="366713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5048" y="1360885"/>
            <a:ext cx="366713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5048" y="1637110"/>
            <a:ext cx="366713" cy="273844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5048" y="1909763"/>
            <a:ext cx="366713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0"/>
            <a:ext cx="9144000" cy="48458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0" y="4944667"/>
            <a:ext cx="406004" cy="13573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380" y="6487509"/>
              <a:ext cx="378113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991" y="6600973"/>
              <a:ext cx="317127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6051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2"/>
            <a:ext cx="8458241" cy="766001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9" y="1447802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6553200" y="4767263"/>
            <a:ext cx="2133600" cy="275035"/>
          </a:xfr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fld id="{64E727B0-8731-4CC3-8F32-8E639A59046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3"/>
            <a:ext cx="2895600" cy="27503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Trebuchet MS"/>
              <a:cs typeface="+mn-cs"/>
            </a:endParaRPr>
          </a:p>
        </p:txBody>
      </p:sp>
    </p:spTree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2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2700"/>
            <a:ext cx="366712" cy="274638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39"/>
            <a:ext cx="366712" cy="274637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575"/>
            <a:ext cx="366712" cy="274638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1214"/>
            <a:ext cx="366712" cy="274637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0"/>
            <a:ext cx="366712" cy="27463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489"/>
            <a:ext cx="366712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6714"/>
            <a:ext cx="366712" cy="274637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4"/>
            <a:ext cx="366712" cy="274637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0"/>
            <a:ext cx="9144000" cy="48418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79976"/>
            <a:ext cx="9144000" cy="26352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1" y="4945064"/>
            <a:ext cx="406400" cy="134937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832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639"/>
              <a:ext cx="316818" cy="233701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639"/>
              <a:ext cx="434611" cy="347832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2"/>
            <a:ext cx="8458241" cy="766001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9" y="1447802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6553200" y="4767264"/>
            <a:ext cx="2133600" cy="2746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fld id="{C7ED0B43-C998-4848-8DF9-30F71F51BB9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4"/>
            <a:ext cx="2895600" cy="2746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Trebuchet MS"/>
              <a:cs typeface="+mn-cs"/>
            </a:endParaRPr>
          </a:p>
        </p:txBody>
      </p:sp>
    </p:spTree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8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5048" y="-13097"/>
            <a:ext cx="366713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5048" y="261938"/>
            <a:ext cx="366713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5048" y="536973"/>
            <a:ext cx="366713" cy="27384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5048" y="810816"/>
            <a:ext cx="366713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5048" y="1085850"/>
            <a:ext cx="366713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5048" y="1360885"/>
            <a:ext cx="366713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5048" y="1637110"/>
            <a:ext cx="366713" cy="273844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5048" y="1909763"/>
            <a:ext cx="366713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0"/>
            <a:ext cx="9144000" cy="48458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0" y="4944667"/>
            <a:ext cx="406004" cy="13573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380" y="6487509"/>
              <a:ext cx="378113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991" y="6600973"/>
              <a:ext cx="317127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6051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2"/>
            <a:ext cx="8458241" cy="766001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9" y="1447802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6553200" y="4767263"/>
            <a:ext cx="2133600" cy="275035"/>
          </a:xfr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fld id="{2FCCDCFD-1FC6-4243-B562-C098A8F0855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3"/>
            <a:ext cx="2895600" cy="27503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Trebuchet MS"/>
              <a:cs typeface="+mn-cs"/>
            </a:endParaRPr>
          </a:p>
        </p:txBody>
      </p:sp>
    </p:spTree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8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5048" y="-13097"/>
            <a:ext cx="366713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5048" y="261938"/>
            <a:ext cx="366713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5048" y="536973"/>
            <a:ext cx="366713" cy="27384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5048" y="810816"/>
            <a:ext cx="366713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5048" y="1085850"/>
            <a:ext cx="366713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5048" y="1360885"/>
            <a:ext cx="366713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5048" y="1637110"/>
            <a:ext cx="366713" cy="273844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5048" y="1909763"/>
            <a:ext cx="366713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0"/>
            <a:ext cx="9144000" cy="48458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0" y="4944667"/>
            <a:ext cx="406004" cy="13573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380" y="6487509"/>
              <a:ext cx="378113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991" y="6600973"/>
              <a:ext cx="317127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6051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2"/>
            <a:ext cx="8458241" cy="766001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9" y="1447802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6553200" y="4767263"/>
            <a:ext cx="2133600" cy="275035"/>
          </a:xfr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fld id="{64E727B0-8731-4CC3-8F32-8E639A59046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3"/>
            <a:ext cx="2895600" cy="27503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Trebuchet MS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7703092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3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2700"/>
            <a:ext cx="366712" cy="274638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0" tIns="45715" rIns="91430" bIns="45715" anchor="ctr"/>
          <a:lstStyle/>
          <a:p>
            <a:pPr algn="ctr" defTabSz="68569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42"/>
            <a:ext cx="366712" cy="274637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0" tIns="45715" rIns="91430" bIns="45715" anchor="ctr"/>
          <a:lstStyle/>
          <a:p>
            <a:pPr algn="ctr" defTabSz="68569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575"/>
            <a:ext cx="366712" cy="274638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0" tIns="45715" rIns="91430" bIns="45715" anchor="ctr"/>
          <a:lstStyle/>
          <a:p>
            <a:pPr algn="ctr" defTabSz="68569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1217"/>
            <a:ext cx="366712" cy="274637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0" tIns="45715" rIns="91430" bIns="45715" anchor="ctr"/>
          <a:lstStyle/>
          <a:p>
            <a:pPr algn="ctr" defTabSz="68569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0"/>
            <a:ext cx="366712" cy="27463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0" tIns="45715" rIns="91430" bIns="45715" anchor="ctr"/>
          <a:lstStyle/>
          <a:p>
            <a:pPr algn="ctr" defTabSz="68569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490"/>
            <a:ext cx="366712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0" tIns="45715" rIns="91430" bIns="45715" anchor="ctr"/>
          <a:lstStyle/>
          <a:p>
            <a:pPr algn="ctr" defTabSz="68569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6717"/>
            <a:ext cx="366712" cy="274637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0" tIns="45715" rIns="91430" bIns="45715" anchor="ctr"/>
          <a:lstStyle/>
          <a:p>
            <a:pPr algn="ctr" defTabSz="68569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7"/>
            <a:ext cx="366712" cy="274637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0" tIns="45715" rIns="91430" bIns="45715" anchor="ctr"/>
          <a:lstStyle/>
          <a:p>
            <a:pPr algn="ctr" defTabSz="68569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1"/>
            <a:ext cx="9144000" cy="396240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0" tIns="45715" rIns="91430" bIns="45715" anchor="ctr"/>
          <a:lstStyle/>
          <a:p>
            <a:pPr algn="ctr" defTabSz="68569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79979"/>
            <a:ext cx="9144000" cy="26352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0" tIns="45715" rIns="91430" bIns="45715" anchor="ctr"/>
          <a:lstStyle/>
          <a:p>
            <a:pPr algn="ctr" defTabSz="68569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1" y="4945064"/>
            <a:ext cx="406400" cy="134937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832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698">
                <a:defRPr/>
              </a:pPr>
              <a:endParaRPr lang="ru-RU" sz="1400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639"/>
              <a:ext cx="316818" cy="233701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698">
                <a:defRPr/>
              </a:pPr>
              <a:endParaRPr lang="ru-RU" sz="1400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639"/>
              <a:ext cx="434611" cy="347832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698">
                <a:defRPr/>
              </a:pPr>
              <a:endParaRPr lang="ru-RU" sz="1400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1" y="1447807"/>
            <a:ext cx="4140199" cy="2657477"/>
          </a:xfrm>
          <a:prstGeom prst="rect">
            <a:avLst/>
          </a:prstGeom>
        </p:spPr>
        <p:txBody>
          <a:bodyPr lIns="68576" tIns="34289" rIns="68576" bIns="34289"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3" y="4247760"/>
            <a:ext cx="4140200" cy="365921"/>
          </a:xfrm>
          <a:prstGeom prst="rect">
            <a:avLst/>
          </a:prstGeom>
        </p:spPr>
        <p:txBody>
          <a:bodyPr lIns="68576" tIns="34289" rIns="68576" bIns="34289">
            <a:normAutofit/>
          </a:bodyPr>
          <a:lstStyle>
            <a:lvl1pPr marL="0" indent="0">
              <a:spcBef>
                <a:spcPts val="0"/>
              </a:spcBef>
              <a:buNone/>
              <a:defRPr sz="11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32" y="294031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60" y="1447806"/>
            <a:ext cx="4140199" cy="2657477"/>
          </a:xfrm>
          <a:prstGeom prst="rect">
            <a:avLst/>
          </a:prstGeom>
        </p:spPr>
        <p:txBody>
          <a:bodyPr lIns="68576" tIns="34289" rIns="68576" bIns="34289"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60"/>
            <a:ext cx="4140200" cy="365921"/>
          </a:xfrm>
          <a:prstGeom prst="rect">
            <a:avLst/>
          </a:prstGeom>
        </p:spPr>
        <p:txBody>
          <a:bodyPr lIns="68576" tIns="34289" rIns="68576" bIns="34289">
            <a:normAutofit/>
          </a:bodyPr>
          <a:lstStyle>
            <a:lvl1pPr marL="0" indent="0">
              <a:spcBef>
                <a:spcPts val="0"/>
              </a:spcBef>
              <a:buNone/>
              <a:defRPr sz="11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95CD55C-2122-412E-9BAD-034CCEBDA415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7"/>
            <a:ext cx="2895600" cy="273844"/>
          </a:xfrm>
          <a:prstGeom prst="rect">
            <a:avLst/>
          </a:prstGeom>
        </p:spPr>
        <p:txBody>
          <a:bodyPr lIns="68576" tIns="34289" rIns="68576" bIns="34289"/>
          <a:lstStyle>
            <a:lvl1pPr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black">
                  <a:tint val="75000"/>
                </a:prstClr>
              </a:solidFill>
              <a:latin typeface="Trebuchet MS"/>
              <a:cs typeface="+mn-cs"/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sz="half" idx="1"/>
          </p:nvPr>
        </p:nvSpPr>
        <p:spPr>
          <a:xfrm>
            <a:off x="236700" y="1352278"/>
            <a:ext cx="4206713" cy="327925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6" name="Content Placeholder 3"/>
          <p:cNvSpPr>
            <a:spLocks noGrp="1"/>
          </p:cNvSpPr>
          <p:nvPr>
            <p:ph sz="half" idx="2"/>
          </p:nvPr>
        </p:nvSpPr>
        <p:spPr>
          <a:xfrm>
            <a:off x="4577640" y="1352278"/>
            <a:ext cx="4196473" cy="327925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230731" y="258893"/>
            <a:ext cx="8543382" cy="767426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5112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9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5048" y="-13097"/>
            <a:ext cx="366713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5048" y="261938"/>
            <a:ext cx="366713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5048" y="536973"/>
            <a:ext cx="366713" cy="27384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5048" y="810816"/>
            <a:ext cx="366713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5048" y="1085850"/>
            <a:ext cx="366713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5048" y="1360885"/>
            <a:ext cx="366713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5048" y="1637110"/>
            <a:ext cx="366713" cy="273844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5048" y="1909763"/>
            <a:ext cx="366713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0"/>
            <a:ext cx="9144000" cy="48458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0" y="4944667"/>
            <a:ext cx="406004" cy="13573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380" y="6487509"/>
              <a:ext cx="378113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49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991" y="6600973"/>
              <a:ext cx="317127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49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6051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49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3"/>
            <a:ext cx="8458241" cy="766001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60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6553200" y="4767263"/>
            <a:ext cx="2133600" cy="275035"/>
          </a:xfrm>
        </p:spPr>
        <p:txBody>
          <a:bodyPr/>
          <a:lstStyle>
            <a:lvl1pPr defTabSz="685715"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>
                    <a:tint val="75000"/>
                  </a:prstClr>
                </a:solidFill>
                <a:cs typeface="+mn-cs"/>
              </a:defRPr>
            </a:lvl1pPr>
          </a:lstStyle>
          <a:p>
            <a:pPr>
              <a:defRPr/>
            </a:pPr>
            <a:fld id="{14CCD9AB-F04C-4F12-AC26-257169738CA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3"/>
            <a:ext cx="2895600" cy="275035"/>
          </a:xfrm>
          <a:prstGeom prst="rect">
            <a:avLst/>
          </a:prstGeom>
        </p:spPr>
        <p:txBody>
          <a:bodyPr/>
          <a:lstStyle>
            <a:lvl1pPr defTabSz="685715"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>
                    <a:tint val="75000"/>
                  </a:prstClr>
                </a:solidFill>
                <a:cs typeface="+mn-cs"/>
              </a:defRPr>
            </a:lvl1pPr>
          </a:lstStyle>
          <a:p>
            <a:pPr>
              <a:defRPr/>
            </a:pPr>
            <a:endParaRPr lang="en-US">
              <a:latin typeface="Trebuchet MS"/>
            </a:endParaRPr>
          </a:p>
        </p:txBody>
      </p:sp>
    </p:spTree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3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3092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43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5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5924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8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3"/>
            <a:ext cx="9144000" cy="529824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1" y="4945856"/>
            <a:ext cx="406400" cy="13454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494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977"/>
              <a:ext cx="316818" cy="233026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977"/>
              <a:ext cx="434611" cy="347494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3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62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defTabSz="914355">
              <a:defRPr/>
            </a:lvl1pPr>
          </a:lstStyle>
          <a:p>
            <a:pPr>
              <a:defRPr/>
            </a:pPr>
            <a:fld id="{EC893051-36D8-4DC4-8428-11F2E41FE0D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028950" y="4767265"/>
            <a:ext cx="3086100" cy="274637"/>
          </a:xfrm>
          <a:prstGeom prst="rect">
            <a:avLst/>
          </a:prstGeom>
        </p:spPr>
        <p:txBody>
          <a:bodyPr/>
          <a:lstStyle>
            <a:lvl1pPr defTabSz="914355"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black">
                  <a:tint val="75000"/>
                </a:prstClr>
              </a:solidFill>
              <a:latin typeface="Trebuchet MS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601959"/>
      </p:ext>
    </p:extLst>
  </p:cSld>
  <p:clrMapOvr>
    <a:masterClrMapping/>
  </p:clrMapOvr>
  <p:transition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3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3092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43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5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5924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8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3"/>
            <a:ext cx="9144000" cy="529824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1" y="4945856"/>
            <a:ext cx="406400" cy="13454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494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977"/>
              <a:ext cx="316818" cy="233026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977"/>
              <a:ext cx="434611" cy="347494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3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62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defTabSz="914355">
              <a:defRPr/>
            </a:lvl1pPr>
          </a:lstStyle>
          <a:p>
            <a:pPr>
              <a:defRPr/>
            </a:pPr>
            <a:fld id="{EC893051-36D8-4DC4-8428-11F2E41FE0D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>
            <a:lvl1pPr defTabSz="914355"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black">
                  <a:tint val="75000"/>
                </a:prstClr>
              </a:solidFill>
              <a:latin typeface="Trebuchet MS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601959"/>
      </p:ext>
    </p:extLst>
  </p:cSld>
  <p:clrMapOvr>
    <a:masterClrMapping/>
  </p:clrMapOvr>
  <p:transition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8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5048" y="-13097"/>
            <a:ext cx="366713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5048" y="261938"/>
            <a:ext cx="366713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5048" y="536973"/>
            <a:ext cx="366713" cy="27384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5048" y="810816"/>
            <a:ext cx="366713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5048" y="1085850"/>
            <a:ext cx="366713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5048" y="1360885"/>
            <a:ext cx="366713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5048" y="1637110"/>
            <a:ext cx="366713" cy="273844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5048" y="1909763"/>
            <a:ext cx="366713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0"/>
            <a:ext cx="9144000" cy="48458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0" y="4944667"/>
            <a:ext cx="406004" cy="13573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380" y="6487509"/>
              <a:ext cx="378113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991" y="6600973"/>
              <a:ext cx="317127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6051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2"/>
            <a:ext cx="8458241" cy="766001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9" y="1447802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6553200" y="4767263"/>
            <a:ext cx="2133600" cy="275035"/>
          </a:xfr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fld id="{B1197B2B-B432-488B-BD5A-F299E1E0A22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3"/>
            <a:ext cx="2895600" cy="27503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Trebuchet MS"/>
              <a:cs typeface="+mn-cs"/>
            </a:endParaRPr>
          </a:p>
        </p:txBody>
      </p:sp>
    </p:spTree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 userDrawn="1"/>
        </p:nvSpPr>
        <p:spPr bwMode="auto">
          <a:xfrm>
            <a:off x="890588" y="2517775"/>
            <a:ext cx="5513387" cy="565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defTabSz="457200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200" dirty="0">
                <a:solidFill>
                  <a:srgbClr val="FFFFFF"/>
                </a:solidFill>
                <a:latin typeface="Verdana" pitchFamily="34" charset="0"/>
                <a:cs typeface="+mn-cs"/>
              </a:rPr>
              <a:t>Образец заголовка</a:t>
            </a:r>
            <a:endParaRPr lang="en-US" sz="2200" dirty="0">
              <a:solidFill>
                <a:srgbClr val="FFFFFF"/>
              </a:solidFill>
              <a:latin typeface="Verdana" pitchFamily="34" charset="0"/>
              <a:cs typeface="+mn-cs"/>
            </a:endParaRP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902401" y="4521200"/>
            <a:ext cx="4193157" cy="381396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buNone/>
              <a:defRPr sz="1000" baseline="0"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890030" y="2625757"/>
            <a:ext cx="5514509" cy="564404"/>
          </a:xfrm>
        </p:spPr>
        <p:txBody>
          <a:bodyPr/>
          <a:lstStyle>
            <a:lvl1pPr marL="0" marR="0" indent="0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tabLst/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noProof="0"/>
              <a:t>Образец заголовка</a:t>
            </a:r>
            <a:endParaRPr lang="en-US" noProof="0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898321" y="3437382"/>
            <a:ext cx="5514509" cy="84873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2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3092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43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5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5924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8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3"/>
            <a:ext cx="9144000" cy="529824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1" y="4945856"/>
            <a:ext cx="406400" cy="13454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494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977"/>
              <a:ext cx="316818" cy="233026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977"/>
              <a:ext cx="434611" cy="347494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3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62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defTabSz="914355">
              <a:defRPr/>
            </a:lvl1pPr>
          </a:lstStyle>
          <a:p>
            <a:pPr>
              <a:defRPr/>
            </a:pPr>
            <a:fld id="{EC893051-36D8-4DC4-8428-11F2E41FE0D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>
            <a:lvl1pPr defTabSz="914355"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black">
                  <a:tint val="75000"/>
                </a:prstClr>
              </a:solidFill>
              <a:latin typeface="Trebuchet MS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601959"/>
      </p:ext>
    </p:extLst>
  </p:cSld>
  <p:clrMapOvr>
    <a:masterClrMapping/>
  </p:clrMapOvr>
  <p:transition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0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3097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38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0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5919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3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1"/>
            <a:ext cx="9144000" cy="483517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  <a:latin typeface="Trebuchet MS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0" y="4945856"/>
            <a:ext cx="406400" cy="13454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494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977"/>
              <a:ext cx="316818" cy="233026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977"/>
              <a:ext cx="434611" cy="347494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15" y="1447799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3" y="4247752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5" y="294025"/>
            <a:ext cx="8458241" cy="766001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2" y="1447798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0" y="4247752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317500" y="4872038"/>
            <a:ext cx="34925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9937680-937F-4636-8C4B-19DB3D188059}" type="slidenum">
              <a:rPr lang="en-US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547688" y="4872038"/>
            <a:ext cx="28956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black"/>
              </a:solidFill>
              <a:latin typeface="Trebuchet MS"/>
              <a:cs typeface="+mn-cs"/>
            </a:endParaRPr>
          </a:p>
        </p:txBody>
      </p:sp>
    </p:spTree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7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5048" y="-13097"/>
            <a:ext cx="366713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5048" y="261938"/>
            <a:ext cx="366713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5048" y="536973"/>
            <a:ext cx="366713" cy="27384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5048" y="810816"/>
            <a:ext cx="366713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5048" y="1085850"/>
            <a:ext cx="366713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5048" y="1360885"/>
            <a:ext cx="366713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5048" y="1637110"/>
            <a:ext cx="366713" cy="273844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5048" y="1909763"/>
            <a:ext cx="366713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0"/>
            <a:ext cx="9144000" cy="48458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0" y="4944667"/>
            <a:ext cx="406004" cy="13573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380" y="6487509"/>
              <a:ext cx="378113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991" y="6600973"/>
              <a:ext cx="317127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6051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2"/>
            <a:ext cx="8458241" cy="766001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9" y="1447802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6553200" y="4767263"/>
            <a:ext cx="2133600" cy="275035"/>
          </a:xfr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fld id="{B1197B2B-B432-488B-BD5A-F299E1E0A22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3"/>
            <a:ext cx="2895600" cy="27503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Trebuchet MS"/>
              <a:cs typeface="+mn-cs"/>
            </a:endParaRPr>
          </a:p>
        </p:txBody>
      </p:sp>
    </p:spTree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8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5048" y="-13097"/>
            <a:ext cx="366713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5048" y="261938"/>
            <a:ext cx="366713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5048" y="536973"/>
            <a:ext cx="366713" cy="27384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5048" y="810816"/>
            <a:ext cx="366713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5048" y="1085850"/>
            <a:ext cx="366713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5048" y="1360885"/>
            <a:ext cx="366713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5048" y="1637110"/>
            <a:ext cx="366713" cy="273844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5048" y="1909763"/>
            <a:ext cx="366713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0"/>
            <a:ext cx="9144000" cy="48458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0" y="4944667"/>
            <a:ext cx="406004" cy="13573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380" y="6487509"/>
              <a:ext cx="378113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991" y="6600973"/>
              <a:ext cx="317127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6051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2"/>
            <a:ext cx="8458241" cy="766001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9" y="1447802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6553200" y="4767263"/>
            <a:ext cx="2133600" cy="275035"/>
          </a:xfr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fld id="{2289F2DE-7CAF-417D-A405-0ED9EE9F766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3"/>
            <a:ext cx="2895600" cy="27503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Trebuchet MS"/>
              <a:cs typeface="+mn-cs"/>
            </a:endParaRPr>
          </a:p>
        </p:txBody>
      </p:sp>
    </p:spTree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0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5048" y="-13097"/>
            <a:ext cx="366713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5048" y="261938"/>
            <a:ext cx="366713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5048" y="536973"/>
            <a:ext cx="366713" cy="27384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5048" y="810816"/>
            <a:ext cx="366713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5048" y="1085850"/>
            <a:ext cx="366713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5048" y="1360885"/>
            <a:ext cx="366713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5048" y="1637110"/>
            <a:ext cx="366713" cy="273844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5048" y="1909763"/>
            <a:ext cx="366713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0"/>
            <a:ext cx="9144000" cy="48458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0" y="4944667"/>
            <a:ext cx="406004" cy="13573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380" y="6487509"/>
              <a:ext cx="378113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991" y="6600973"/>
              <a:ext cx="317127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6051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2"/>
            <a:ext cx="8458241" cy="766001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9" y="1447802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6553200" y="4767263"/>
            <a:ext cx="2133600" cy="275035"/>
          </a:xfr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fld id="{673D6B73-ED62-4749-9E37-32B9753BE1D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3"/>
            <a:ext cx="2895600" cy="27503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Trebuchet MS"/>
              <a:cs typeface="+mn-cs"/>
            </a:endParaRP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"/>
          <p:cNvSpPr>
            <a:spLocks noGrp="1"/>
          </p:cNvSpPr>
          <p:nvPr>
            <p:ph type="pic" idx="1"/>
          </p:nvPr>
        </p:nvSpPr>
        <p:spPr>
          <a:xfrm>
            <a:off x="327026" y="1284685"/>
            <a:ext cx="7013575" cy="3348037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en-US" noProof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2"/>
          </p:nvPr>
        </p:nvSpPr>
        <p:spPr>
          <a:xfrm>
            <a:off x="7457655" y="1289803"/>
            <a:ext cx="1316459" cy="33429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>
                <a:solidFill>
                  <a:srgbClr val="0066A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230731" y="258893"/>
            <a:ext cx="8543382" cy="767426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10039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0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5048" y="-13097"/>
            <a:ext cx="366713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5048" y="261938"/>
            <a:ext cx="366713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5048" y="536973"/>
            <a:ext cx="366713" cy="27384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5048" y="810816"/>
            <a:ext cx="366713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5048" y="1085850"/>
            <a:ext cx="366713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5048" y="1360885"/>
            <a:ext cx="366713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5048" y="1637110"/>
            <a:ext cx="366713" cy="273844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5048" y="1909763"/>
            <a:ext cx="366713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0"/>
            <a:ext cx="9144000" cy="48458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0" y="4944667"/>
            <a:ext cx="406004" cy="13573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380" y="6487509"/>
              <a:ext cx="378113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991" y="6600973"/>
              <a:ext cx="317127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6051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2"/>
            <a:ext cx="8458241" cy="766001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9" y="1447802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6553200" y="4767263"/>
            <a:ext cx="2133600" cy="275035"/>
          </a:xfr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fld id="{EE9FDC0C-556C-49FC-9577-EFB382C45F7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3"/>
            <a:ext cx="2895600" cy="27503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Trebuchet MS"/>
              <a:cs typeface="+mn-cs"/>
            </a:endParaRPr>
          </a:p>
        </p:txBody>
      </p:sp>
    </p:spTree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3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3092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43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5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5924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8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3"/>
            <a:ext cx="9144000" cy="529824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1" y="4945856"/>
            <a:ext cx="406400" cy="13454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494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977"/>
              <a:ext cx="316818" cy="233026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977"/>
              <a:ext cx="434611" cy="347494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3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62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defTabSz="914355">
              <a:defRPr/>
            </a:lvl1pPr>
          </a:lstStyle>
          <a:p>
            <a:pPr>
              <a:defRPr/>
            </a:pPr>
            <a:fld id="{EC893051-36D8-4DC4-8428-11F2E41FE0D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028950" y="4767265"/>
            <a:ext cx="3086100" cy="274637"/>
          </a:xfrm>
          <a:prstGeom prst="rect">
            <a:avLst/>
          </a:prstGeom>
        </p:spPr>
        <p:txBody>
          <a:bodyPr/>
          <a:lstStyle>
            <a:lvl1pPr defTabSz="914355"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black">
                  <a:tint val="75000"/>
                </a:prstClr>
              </a:solidFill>
              <a:latin typeface="Trebuchet MS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601959"/>
      </p:ext>
    </p:extLst>
  </p:cSld>
  <p:clrMapOvr>
    <a:masterClrMapping/>
  </p:clrMapOvr>
  <p:transition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7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3092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43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5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5923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8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1"/>
            <a:ext cx="9144000" cy="80962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4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1" y="4945856"/>
            <a:ext cx="406400" cy="13454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494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977"/>
              <a:ext cx="316818" cy="233026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977"/>
              <a:ext cx="434611" cy="347494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16" y="1447803"/>
            <a:ext cx="4140200" cy="2657477"/>
          </a:xfrm>
          <a:prstGeom prst="rect">
            <a:avLst/>
          </a:prstGeom>
        </p:spPr>
        <p:txBody>
          <a:bodyPr lIns="68580" tIns="34290" rIns="68580" bIns="34290"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5" y="4247757"/>
            <a:ext cx="4140200" cy="365921"/>
          </a:xfrm>
          <a:prstGeom prst="rect">
            <a:avLst/>
          </a:prstGeom>
        </p:spPr>
        <p:txBody>
          <a:bodyPr lIns="68580" tIns="34290" rIns="68580" bIns="34290">
            <a:normAutofit/>
          </a:bodyPr>
          <a:lstStyle>
            <a:lvl1pPr marL="0" indent="0">
              <a:spcBef>
                <a:spcPts val="0"/>
              </a:spcBef>
              <a:buNone/>
              <a:defRPr sz="9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0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6" y="1447803"/>
            <a:ext cx="4140200" cy="2657477"/>
          </a:xfrm>
          <a:prstGeom prst="rect">
            <a:avLst/>
          </a:prstGeom>
        </p:spPr>
        <p:txBody>
          <a:bodyPr lIns="68580" tIns="34290" rIns="68580" bIns="34290"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7"/>
            <a:ext cx="4140200" cy="365921"/>
          </a:xfrm>
          <a:prstGeom prst="rect">
            <a:avLst/>
          </a:prstGeom>
        </p:spPr>
        <p:txBody>
          <a:bodyPr lIns="68580" tIns="34290" rIns="68580" bIns="34290">
            <a:normAutofit/>
          </a:bodyPr>
          <a:lstStyle>
            <a:lvl1pPr marL="0" indent="0">
              <a:spcBef>
                <a:spcPts val="0"/>
              </a:spcBef>
              <a:buNone/>
              <a:defRPr sz="9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CFB60C-3871-4435-AB3F-6B2521821FA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73"/>
            <a:ext cx="2895600" cy="273844"/>
          </a:xfrm>
          <a:prstGeom prst="rect">
            <a:avLst/>
          </a:prstGeom>
        </p:spPr>
        <p:txBody>
          <a:bodyPr lIns="80465" tIns="40232" rIns="80465" bIns="40232"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8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3094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38" tIns="45719" rIns="91438" bIns="4571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41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38" tIns="45719" rIns="91438" bIns="4571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38" tIns="45719" rIns="91438" bIns="4571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38" tIns="45719" rIns="91438" bIns="4571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3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38" tIns="45719" rIns="91438" bIns="4571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38" tIns="45719" rIns="91438" bIns="4571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5922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38" tIns="45719" rIns="91438" bIns="4571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6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38" tIns="45719" rIns="91438" bIns="4571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1"/>
            <a:ext cx="9144000" cy="80962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38" tIns="45719" rIns="91438" bIns="4571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38" tIns="45719" rIns="91438" bIns="4571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1" y="4945856"/>
            <a:ext cx="406400" cy="13454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494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977"/>
              <a:ext cx="316818" cy="233026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977"/>
              <a:ext cx="434611" cy="347494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16" y="1447802"/>
            <a:ext cx="4140199" cy="2657477"/>
          </a:xfrm>
          <a:prstGeom prst="rect">
            <a:avLst/>
          </a:prstGeom>
        </p:spPr>
        <p:txBody>
          <a:bodyPr lIns="68580" tIns="34290" rIns="68580" bIns="34290"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3" y="4247755"/>
            <a:ext cx="4140200" cy="365921"/>
          </a:xfrm>
          <a:prstGeom prst="rect">
            <a:avLst/>
          </a:prstGeom>
        </p:spPr>
        <p:txBody>
          <a:bodyPr lIns="68580" tIns="34290" rIns="68580" bIns="34290"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27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7" y="1447801"/>
            <a:ext cx="4140199" cy="2657477"/>
          </a:xfrm>
          <a:prstGeom prst="rect">
            <a:avLst/>
          </a:prstGeom>
        </p:spPr>
        <p:txBody>
          <a:bodyPr lIns="68580" tIns="34290" rIns="68580" bIns="34290"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5"/>
            <a:ext cx="4140200" cy="365921"/>
          </a:xfrm>
          <a:prstGeom prst="rect">
            <a:avLst/>
          </a:prstGeom>
        </p:spPr>
        <p:txBody>
          <a:bodyPr lIns="68580" tIns="34290" rIns="68580" bIns="34290"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CFB60C-3871-4435-AB3F-6B2521821FA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71"/>
            <a:ext cx="2895600" cy="273844"/>
          </a:xfrm>
          <a:prstGeom prst="rect">
            <a:avLst/>
          </a:prstGeom>
        </p:spPr>
        <p:txBody>
          <a:bodyPr lIns="68580" tIns="34290" rIns="68580" bIns="34290"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8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2700"/>
            <a:ext cx="366712" cy="274638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28" tIns="45714" rIns="91428" bIns="45714" anchor="ctr"/>
          <a:lstStyle/>
          <a:p>
            <a:pPr algn="ctr" defTabSz="448757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39"/>
            <a:ext cx="366712" cy="274637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28" tIns="45714" rIns="91428" bIns="45714" anchor="ctr"/>
          <a:lstStyle/>
          <a:p>
            <a:pPr algn="ctr" defTabSz="448757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575"/>
            <a:ext cx="366712" cy="274638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28" tIns="45714" rIns="91428" bIns="45714" anchor="ctr"/>
          <a:lstStyle/>
          <a:p>
            <a:pPr algn="ctr" defTabSz="448757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1214"/>
            <a:ext cx="366712" cy="274637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28" tIns="45714" rIns="91428" bIns="45714" anchor="ctr"/>
          <a:lstStyle/>
          <a:p>
            <a:pPr algn="ctr" defTabSz="448757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0"/>
            <a:ext cx="366712" cy="27463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28" tIns="45714" rIns="91428" bIns="45714" anchor="ctr"/>
          <a:lstStyle/>
          <a:p>
            <a:pPr algn="ctr" defTabSz="448757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489"/>
            <a:ext cx="366712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28" tIns="45714" rIns="91428" bIns="45714" anchor="ctr"/>
          <a:lstStyle/>
          <a:p>
            <a:pPr algn="ctr" defTabSz="448757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6714"/>
            <a:ext cx="366712" cy="274637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28" tIns="45714" rIns="91428" bIns="45714" anchor="ctr"/>
          <a:lstStyle/>
          <a:p>
            <a:pPr algn="ctr" defTabSz="448757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4"/>
            <a:ext cx="366712" cy="274637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28" tIns="45714" rIns="91428" bIns="45714" anchor="ctr"/>
          <a:lstStyle/>
          <a:p>
            <a:pPr algn="ctr" defTabSz="448757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1"/>
            <a:ext cx="9144000" cy="80962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28" tIns="45714" rIns="91428" bIns="45714" anchor="ctr"/>
          <a:lstStyle/>
          <a:p>
            <a:pPr algn="ctr" defTabSz="448757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79976"/>
            <a:ext cx="9144000" cy="26352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28" tIns="45714" rIns="91428" bIns="45714" anchor="ctr"/>
          <a:lstStyle/>
          <a:p>
            <a:pPr algn="ctr" defTabSz="448757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1" y="4945064"/>
            <a:ext cx="406400" cy="134937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832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448757">
                <a:defRPr/>
              </a:pPr>
              <a:endParaRPr lang="ru-RU" dirty="0"/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639"/>
              <a:ext cx="316818" cy="233701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448757">
                <a:defRPr/>
              </a:pPr>
              <a:endParaRPr lang="ru-RU" dirty="0"/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639"/>
              <a:ext cx="434611" cy="347832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448757">
                <a:defRPr/>
              </a:pPr>
              <a:endParaRPr lang="ru-RU" dirty="0"/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17" y="1447803"/>
            <a:ext cx="4140199" cy="2657477"/>
          </a:xfrm>
          <a:prstGeom prst="rect">
            <a:avLst/>
          </a:prstGeom>
        </p:spPr>
        <p:txBody>
          <a:bodyPr lIns="68580" tIns="34290" rIns="68580" bIns="34290"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5" y="4247756"/>
            <a:ext cx="4140200" cy="365921"/>
          </a:xfrm>
          <a:prstGeom prst="rect">
            <a:avLst/>
          </a:prstGeom>
        </p:spPr>
        <p:txBody>
          <a:bodyPr lIns="68580" tIns="34290" rIns="68580" bIns="34290"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29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7" y="1447802"/>
            <a:ext cx="4140199" cy="2657477"/>
          </a:xfrm>
          <a:prstGeom prst="rect">
            <a:avLst/>
          </a:prstGeom>
        </p:spPr>
        <p:txBody>
          <a:bodyPr lIns="68580" tIns="34290" rIns="68580" bIns="34290"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6"/>
            <a:ext cx="4140200" cy="365921"/>
          </a:xfrm>
          <a:prstGeom prst="rect">
            <a:avLst/>
          </a:prstGeom>
        </p:spPr>
        <p:txBody>
          <a:bodyPr lIns="68580" tIns="34290" rIns="68580" bIns="34290"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C421EF-058D-4DEE-BA0D-74337D6D35E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71"/>
            <a:ext cx="2895600" cy="273844"/>
          </a:xfrm>
          <a:prstGeom prst="rect">
            <a:avLst/>
          </a:prstGeom>
        </p:spPr>
        <p:txBody>
          <a:bodyPr lIns="68580" tIns="34290" rIns="68580" bIns="34290"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8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3092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43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5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5923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8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1"/>
            <a:ext cx="9144000" cy="80962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4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1" y="4945856"/>
            <a:ext cx="406400" cy="13454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494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977"/>
              <a:ext cx="316818" cy="233026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977"/>
              <a:ext cx="434611" cy="347494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16" y="1447803"/>
            <a:ext cx="4140200" cy="2657477"/>
          </a:xfrm>
          <a:prstGeom prst="rect">
            <a:avLst/>
          </a:prstGeom>
        </p:spPr>
        <p:txBody>
          <a:bodyPr lIns="68580" tIns="34290" rIns="68580" bIns="34290"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5" y="4247757"/>
            <a:ext cx="4140200" cy="365921"/>
          </a:xfrm>
          <a:prstGeom prst="rect">
            <a:avLst/>
          </a:prstGeom>
        </p:spPr>
        <p:txBody>
          <a:bodyPr lIns="68580" tIns="34290" rIns="68580" bIns="34290">
            <a:normAutofit/>
          </a:bodyPr>
          <a:lstStyle>
            <a:lvl1pPr marL="0" indent="0">
              <a:spcBef>
                <a:spcPts val="0"/>
              </a:spcBef>
              <a:buNone/>
              <a:defRPr sz="9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0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6" y="1447803"/>
            <a:ext cx="4140200" cy="2657477"/>
          </a:xfrm>
          <a:prstGeom prst="rect">
            <a:avLst/>
          </a:prstGeom>
        </p:spPr>
        <p:txBody>
          <a:bodyPr lIns="68580" tIns="34290" rIns="68580" bIns="34290"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7"/>
            <a:ext cx="4140200" cy="365921"/>
          </a:xfrm>
          <a:prstGeom prst="rect">
            <a:avLst/>
          </a:prstGeom>
        </p:spPr>
        <p:txBody>
          <a:bodyPr lIns="68580" tIns="34290" rIns="68580" bIns="34290">
            <a:normAutofit/>
          </a:bodyPr>
          <a:lstStyle>
            <a:lvl1pPr marL="0" indent="0">
              <a:spcBef>
                <a:spcPts val="0"/>
              </a:spcBef>
              <a:buNone/>
              <a:defRPr sz="9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CFB60C-3871-4435-AB3F-6B2521821FA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73"/>
            <a:ext cx="2895600" cy="273844"/>
          </a:xfrm>
          <a:prstGeom prst="rect">
            <a:avLst/>
          </a:prstGeom>
        </p:spPr>
        <p:txBody>
          <a:bodyPr lIns="80465" tIns="40232" rIns="80465" bIns="40232"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3070790"/>
            <a:ext cx="9144000" cy="207271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3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646113" y="4143283"/>
            <a:ext cx="5486400" cy="309766"/>
          </a:xfrm>
          <a:prstGeom prst="rect">
            <a:avLst/>
          </a:prstGeom>
        </p:spPr>
        <p:txBody>
          <a:bodyPr/>
          <a:lstStyle>
            <a:lvl1pPr marL="0" indent="0" eaLnBrk="1" hangingPunct="1"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eaLnBrk="1" hangingPunct="1"/>
            <a:r>
              <a:rPr kumimoji="0" lang="ru-RU" dirty="0" smtClean="0">
                <a:ea typeface="Arial" pitchFamily="34" charset="0"/>
              </a:rPr>
              <a:t>Подзаголовок и/или имя спикера</a:t>
            </a:r>
            <a:endParaRPr kumimoji="0" lang="en-US" dirty="0" smtClean="0">
              <a:ea typeface="Arial" pitchFamily="34" charset="0"/>
            </a:endParaRPr>
          </a:p>
        </p:txBody>
      </p:sp>
      <p:sp>
        <p:nvSpPr>
          <p:cNvPr id="4" name="Заголовок 8"/>
          <p:cNvSpPr>
            <a:spLocks noGrp="1"/>
          </p:cNvSpPr>
          <p:nvPr>
            <p:ph type="title" hasCustomPrompt="1"/>
          </p:nvPr>
        </p:nvSpPr>
        <p:spPr>
          <a:xfrm>
            <a:off x="646113" y="3139878"/>
            <a:ext cx="5688632" cy="660366"/>
          </a:xfrm>
        </p:spPr>
        <p:txBody>
          <a:bodyPr>
            <a:noAutofit/>
          </a:bodyPr>
          <a:lstStyle>
            <a:lvl1pPr>
              <a:defRPr sz="2000" baseline="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 в 1 и 2 строки </a:t>
            </a:r>
            <a:br>
              <a:rPr lang="ru-RU" dirty="0" smtClean="0"/>
            </a:br>
            <a:r>
              <a:rPr lang="ru-RU" dirty="0" smtClean="0"/>
              <a:t>шрифт 20 </a:t>
            </a:r>
            <a:r>
              <a:rPr lang="ru-RU" dirty="0" err="1" smtClean="0"/>
              <a:t>разм</a:t>
            </a:r>
            <a:r>
              <a:rPr lang="ru-RU" dirty="0" smtClean="0"/>
              <a:t>. 3 строки 16 размера</a:t>
            </a:r>
            <a:endParaRPr lang="ru-RU" dirty="0"/>
          </a:p>
        </p:txBody>
      </p:sp>
      <p:sp>
        <p:nvSpPr>
          <p:cNvPr id="5" name="Текст 3"/>
          <p:cNvSpPr>
            <a:spLocks noGrp="1"/>
          </p:cNvSpPr>
          <p:nvPr>
            <p:ph type="body" sz="half" idx="10" hasCustomPrompt="1"/>
          </p:nvPr>
        </p:nvSpPr>
        <p:spPr>
          <a:xfrm>
            <a:off x="646113" y="4625862"/>
            <a:ext cx="5486400" cy="24360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Дата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62335" y="4533012"/>
            <a:ext cx="503853" cy="312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Прямоугольник 6"/>
          <p:cNvSpPr/>
          <p:nvPr userDrawn="1"/>
        </p:nvSpPr>
        <p:spPr>
          <a:xfrm>
            <a:off x="0" y="3047931"/>
            <a:ext cx="9144000" cy="3600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1315287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>
            <a:spLocks noChangeArrowheads="1"/>
          </p:cNvSpPr>
          <p:nvPr userDrawn="1"/>
        </p:nvSpPr>
        <p:spPr bwMode="auto">
          <a:xfrm>
            <a:off x="-374650" y="-13096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auto">
          <a:xfrm>
            <a:off x="-374650" y="261942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7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8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9" name="Rectangle 13"/>
          <p:cNvSpPr>
            <a:spLocks noChangeArrowheads="1"/>
          </p:cNvSpPr>
          <p:nvPr userDrawn="1"/>
        </p:nvSpPr>
        <p:spPr bwMode="auto">
          <a:xfrm>
            <a:off x="-374650" y="1085854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0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1" name="Rectangle 11"/>
          <p:cNvSpPr>
            <a:spLocks noChangeArrowheads="1"/>
          </p:cNvSpPr>
          <p:nvPr userDrawn="1"/>
        </p:nvSpPr>
        <p:spPr bwMode="auto">
          <a:xfrm>
            <a:off x="-374650" y="1635924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3" name="Rectangle 12"/>
          <p:cNvSpPr>
            <a:spLocks noChangeArrowheads="1"/>
          </p:cNvSpPr>
          <p:nvPr userDrawn="1"/>
        </p:nvSpPr>
        <p:spPr bwMode="auto">
          <a:xfrm>
            <a:off x="-374650" y="1909767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4" name="Rectangle 16"/>
          <p:cNvSpPr>
            <a:spLocks noChangeArrowheads="1"/>
          </p:cNvSpPr>
          <p:nvPr userDrawn="1"/>
        </p:nvSpPr>
        <p:spPr bwMode="auto">
          <a:xfrm>
            <a:off x="0" y="5"/>
            <a:ext cx="9144000" cy="1031081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7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pic>
        <p:nvPicPr>
          <p:cNvPr id="18" name="Picture 17" descr="rzd_logo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280401" y="4882758"/>
            <a:ext cx="573088" cy="2607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1" y="1447803"/>
            <a:ext cx="7013575" cy="3174121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idx="12"/>
          </p:nvPr>
        </p:nvSpPr>
        <p:spPr>
          <a:xfrm>
            <a:off x="7516822" y="1447803"/>
            <a:ext cx="1252537" cy="31741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8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340433" y="294030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26E3920-D241-47FF-ACE0-4F6A8BBA127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>
            <a:spLocks noChangeArrowheads="1"/>
          </p:cNvSpPr>
          <p:nvPr userDrawn="1"/>
        </p:nvSpPr>
        <p:spPr bwMode="auto">
          <a:xfrm>
            <a:off x="-374650" y="-13096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auto">
          <a:xfrm>
            <a:off x="-374650" y="261942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7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8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9" name="Rectangle 13"/>
          <p:cNvSpPr>
            <a:spLocks noChangeArrowheads="1"/>
          </p:cNvSpPr>
          <p:nvPr userDrawn="1"/>
        </p:nvSpPr>
        <p:spPr bwMode="auto">
          <a:xfrm>
            <a:off x="-374650" y="1085854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0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1" name="Rectangle 11"/>
          <p:cNvSpPr>
            <a:spLocks noChangeArrowheads="1"/>
          </p:cNvSpPr>
          <p:nvPr userDrawn="1"/>
        </p:nvSpPr>
        <p:spPr bwMode="auto">
          <a:xfrm>
            <a:off x="-374650" y="1635924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3" name="Rectangle 12"/>
          <p:cNvSpPr>
            <a:spLocks noChangeArrowheads="1"/>
          </p:cNvSpPr>
          <p:nvPr userDrawn="1"/>
        </p:nvSpPr>
        <p:spPr bwMode="auto">
          <a:xfrm>
            <a:off x="-374650" y="1909767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4" name="Rectangle 16"/>
          <p:cNvSpPr>
            <a:spLocks noChangeArrowheads="1"/>
          </p:cNvSpPr>
          <p:nvPr userDrawn="1"/>
        </p:nvSpPr>
        <p:spPr bwMode="auto">
          <a:xfrm>
            <a:off x="0" y="5"/>
            <a:ext cx="9144000" cy="1031081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7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pic>
        <p:nvPicPr>
          <p:cNvPr id="18" name="Picture 17" descr="rzd_logo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280401" y="4882758"/>
            <a:ext cx="573088" cy="2607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1" y="1447803"/>
            <a:ext cx="7013575" cy="3174121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idx="12"/>
          </p:nvPr>
        </p:nvSpPr>
        <p:spPr>
          <a:xfrm>
            <a:off x="7516822" y="1447803"/>
            <a:ext cx="1252537" cy="31741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8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340433" y="294030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26E3920-D241-47FF-ACE0-4F6A8BBA127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>
            <a:spLocks noChangeArrowheads="1"/>
          </p:cNvSpPr>
          <p:nvPr userDrawn="1"/>
        </p:nvSpPr>
        <p:spPr bwMode="auto">
          <a:xfrm>
            <a:off x="-374650" y="-13096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auto">
          <a:xfrm>
            <a:off x="-374650" y="261942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7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8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9" name="Rectangle 13"/>
          <p:cNvSpPr>
            <a:spLocks noChangeArrowheads="1"/>
          </p:cNvSpPr>
          <p:nvPr userDrawn="1"/>
        </p:nvSpPr>
        <p:spPr bwMode="auto">
          <a:xfrm>
            <a:off x="-374650" y="1085854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0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1" name="Rectangle 11"/>
          <p:cNvSpPr>
            <a:spLocks noChangeArrowheads="1"/>
          </p:cNvSpPr>
          <p:nvPr userDrawn="1"/>
        </p:nvSpPr>
        <p:spPr bwMode="auto">
          <a:xfrm>
            <a:off x="-374650" y="1635924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3" name="Rectangle 12"/>
          <p:cNvSpPr>
            <a:spLocks noChangeArrowheads="1"/>
          </p:cNvSpPr>
          <p:nvPr userDrawn="1"/>
        </p:nvSpPr>
        <p:spPr bwMode="auto">
          <a:xfrm>
            <a:off x="-374650" y="1909767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4" name="Rectangle 16"/>
          <p:cNvSpPr>
            <a:spLocks noChangeArrowheads="1"/>
          </p:cNvSpPr>
          <p:nvPr userDrawn="1"/>
        </p:nvSpPr>
        <p:spPr bwMode="auto">
          <a:xfrm>
            <a:off x="0" y="5"/>
            <a:ext cx="9144000" cy="1031081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7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pic>
        <p:nvPicPr>
          <p:cNvPr id="18" name="Picture 17" descr="rzd_logo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280401" y="4882758"/>
            <a:ext cx="573088" cy="2607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1" y="1447803"/>
            <a:ext cx="7013575" cy="3174121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idx="12"/>
          </p:nvPr>
        </p:nvSpPr>
        <p:spPr>
          <a:xfrm>
            <a:off x="7516822" y="1447803"/>
            <a:ext cx="1252537" cy="31741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8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340433" y="294030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26E3920-D241-47FF-ACE0-4F6A8BBA127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"/>
          <p:cNvSpPr>
            <a:spLocks noGrp="1"/>
          </p:cNvSpPr>
          <p:nvPr>
            <p:ph type="pic" idx="1"/>
          </p:nvPr>
        </p:nvSpPr>
        <p:spPr>
          <a:xfrm>
            <a:off x="327026" y="1284685"/>
            <a:ext cx="4125913" cy="2833688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dirty="0" smtClean="0"/>
              <a:t>Вставка рисунка</a:t>
            </a:r>
            <a:endParaRPr lang="en-US" noProof="0" dirty="0"/>
          </a:p>
        </p:txBody>
      </p:sp>
      <p:sp>
        <p:nvSpPr>
          <p:cNvPr id="9" name="Picture Placeholder 2"/>
          <p:cNvSpPr>
            <a:spLocks noGrp="1"/>
          </p:cNvSpPr>
          <p:nvPr>
            <p:ph type="pic" idx="10"/>
          </p:nvPr>
        </p:nvSpPr>
        <p:spPr>
          <a:xfrm>
            <a:off x="4667250" y="1285875"/>
            <a:ext cx="4125913" cy="2833688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en-US" noProof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230731" y="258893"/>
            <a:ext cx="8543382" cy="767426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145765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>
            <a:spLocks noChangeArrowheads="1"/>
          </p:cNvSpPr>
          <p:nvPr userDrawn="1"/>
        </p:nvSpPr>
        <p:spPr bwMode="auto">
          <a:xfrm>
            <a:off x="-374650" y="-13096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auto">
          <a:xfrm>
            <a:off x="-374650" y="261942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7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8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9" name="Rectangle 13"/>
          <p:cNvSpPr>
            <a:spLocks noChangeArrowheads="1"/>
          </p:cNvSpPr>
          <p:nvPr userDrawn="1"/>
        </p:nvSpPr>
        <p:spPr bwMode="auto">
          <a:xfrm>
            <a:off x="-374650" y="1085854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0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1" name="Rectangle 11"/>
          <p:cNvSpPr>
            <a:spLocks noChangeArrowheads="1"/>
          </p:cNvSpPr>
          <p:nvPr userDrawn="1"/>
        </p:nvSpPr>
        <p:spPr bwMode="auto">
          <a:xfrm>
            <a:off x="-374650" y="1635924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3" name="Rectangle 12"/>
          <p:cNvSpPr>
            <a:spLocks noChangeArrowheads="1"/>
          </p:cNvSpPr>
          <p:nvPr userDrawn="1"/>
        </p:nvSpPr>
        <p:spPr bwMode="auto">
          <a:xfrm>
            <a:off x="-374650" y="1909767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4" name="Rectangle 16"/>
          <p:cNvSpPr>
            <a:spLocks noChangeArrowheads="1"/>
          </p:cNvSpPr>
          <p:nvPr userDrawn="1"/>
        </p:nvSpPr>
        <p:spPr bwMode="auto">
          <a:xfrm>
            <a:off x="0" y="5"/>
            <a:ext cx="9144000" cy="1031081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7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pic>
        <p:nvPicPr>
          <p:cNvPr id="18" name="Picture 17" descr="rzd_logo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280401" y="4882758"/>
            <a:ext cx="573088" cy="2607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1" y="1447803"/>
            <a:ext cx="7013575" cy="3174121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idx="12"/>
          </p:nvPr>
        </p:nvSpPr>
        <p:spPr>
          <a:xfrm>
            <a:off x="7516822" y="1447803"/>
            <a:ext cx="1252537" cy="31741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8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340433" y="294030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26E3920-D241-47FF-ACE0-4F6A8BBA127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18" Type="http://schemas.openxmlformats.org/officeDocument/2006/relationships/slideLayout" Target="../slideLayouts/slideLayout48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slideLayout" Target="../slideLayouts/slideLayout47.xml"/><Relationship Id="rId2" Type="http://schemas.openxmlformats.org/officeDocument/2006/relationships/slideLayout" Target="../slideLayouts/slideLayout32.xml"/><Relationship Id="rId16" Type="http://schemas.openxmlformats.org/officeDocument/2006/relationships/slideLayout" Target="../slideLayouts/slideLayout46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40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slideLayout" Target="../slideLayouts/slideLayout61.xml"/><Relationship Id="rId18" Type="http://schemas.openxmlformats.org/officeDocument/2006/relationships/slideLayout" Target="../slideLayouts/slideLayout66.xml"/><Relationship Id="rId26" Type="http://schemas.openxmlformats.org/officeDocument/2006/relationships/slideLayout" Target="../slideLayouts/slideLayout74.xml"/><Relationship Id="rId39" Type="http://schemas.openxmlformats.org/officeDocument/2006/relationships/slideLayout" Target="../slideLayouts/slideLayout87.xml"/><Relationship Id="rId3" Type="http://schemas.openxmlformats.org/officeDocument/2006/relationships/slideLayout" Target="../slideLayouts/slideLayout51.xml"/><Relationship Id="rId21" Type="http://schemas.openxmlformats.org/officeDocument/2006/relationships/slideLayout" Target="../slideLayouts/slideLayout69.xml"/><Relationship Id="rId34" Type="http://schemas.openxmlformats.org/officeDocument/2006/relationships/slideLayout" Target="../slideLayouts/slideLayout82.xml"/><Relationship Id="rId42" Type="http://schemas.openxmlformats.org/officeDocument/2006/relationships/slideLayout" Target="../slideLayouts/slideLayout90.xml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17" Type="http://schemas.openxmlformats.org/officeDocument/2006/relationships/slideLayout" Target="../slideLayouts/slideLayout65.xml"/><Relationship Id="rId25" Type="http://schemas.openxmlformats.org/officeDocument/2006/relationships/slideLayout" Target="../slideLayouts/slideLayout73.xml"/><Relationship Id="rId33" Type="http://schemas.openxmlformats.org/officeDocument/2006/relationships/slideLayout" Target="../slideLayouts/slideLayout81.xml"/><Relationship Id="rId38" Type="http://schemas.openxmlformats.org/officeDocument/2006/relationships/slideLayout" Target="../slideLayouts/slideLayout86.xml"/><Relationship Id="rId2" Type="http://schemas.openxmlformats.org/officeDocument/2006/relationships/slideLayout" Target="../slideLayouts/slideLayout50.xml"/><Relationship Id="rId16" Type="http://schemas.openxmlformats.org/officeDocument/2006/relationships/slideLayout" Target="../slideLayouts/slideLayout64.xml"/><Relationship Id="rId20" Type="http://schemas.openxmlformats.org/officeDocument/2006/relationships/slideLayout" Target="../slideLayouts/slideLayout68.xml"/><Relationship Id="rId29" Type="http://schemas.openxmlformats.org/officeDocument/2006/relationships/slideLayout" Target="../slideLayouts/slideLayout77.xml"/><Relationship Id="rId41" Type="http://schemas.openxmlformats.org/officeDocument/2006/relationships/slideLayout" Target="../slideLayouts/slideLayout89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24" Type="http://schemas.openxmlformats.org/officeDocument/2006/relationships/slideLayout" Target="../slideLayouts/slideLayout72.xml"/><Relationship Id="rId32" Type="http://schemas.openxmlformats.org/officeDocument/2006/relationships/slideLayout" Target="../slideLayouts/slideLayout80.xml"/><Relationship Id="rId37" Type="http://schemas.openxmlformats.org/officeDocument/2006/relationships/slideLayout" Target="../slideLayouts/slideLayout85.xml"/><Relationship Id="rId40" Type="http://schemas.openxmlformats.org/officeDocument/2006/relationships/slideLayout" Target="../slideLayouts/slideLayout88.xml"/><Relationship Id="rId5" Type="http://schemas.openxmlformats.org/officeDocument/2006/relationships/slideLayout" Target="../slideLayouts/slideLayout53.xml"/><Relationship Id="rId15" Type="http://schemas.openxmlformats.org/officeDocument/2006/relationships/slideLayout" Target="../slideLayouts/slideLayout63.xml"/><Relationship Id="rId23" Type="http://schemas.openxmlformats.org/officeDocument/2006/relationships/slideLayout" Target="../slideLayouts/slideLayout71.xml"/><Relationship Id="rId28" Type="http://schemas.openxmlformats.org/officeDocument/2006/relationships/slideLayout" Target="../slideLayouts/slideLayout76.xml"/><Relationship Id="rId36" Type="http://schemas.openxmlformats.org/officeDocument/2006/relationships/slideLayout" Target="../slideLayouts/slideLayout84.xml"/><Relationship Id="rId10" Type="http://schemas.openxmlformats.org/officeDocument/2006/relationships/slideLayout" Target="../slideLayouts/slideLayout58.xml"/><Relationship Id="rId19" Type="http://schemas.openxmlformats.org/officeDocument/2006/relationships/slideLayout" Target="../slideLayouts/slideLayout67.xml"/><Relationship Id="rId31" Type="http://schemas.openxmlformats.org/officeDocument/2006/relationships/slideLayout" Target="../slideLayouts/slideLayout79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slideLayout" Target="../slideLayouts/slideLayout62.xml"/><Relationship Id="rId22" Type="http://schemas.openxmlformats.org/officeDocument/2006/relationships/slideLayout" Target="../slideLayouts/slideLayout70.xml"/><Relationship Id="rId27" Type="http://schemas.openxmlformats.org/officeDocument/2006/relationships/slideLayout" Target="../slideLayouts/slideLayout75.xml"/><Relationship Id="rId30" Type="http://schemas.openxmlformats.org/officeDocument/2006/relationships/slideLayout" Target="../slideLayouts/slideLayout78.xml"/><Relationship Id="rId35" Type="http://schemas.openxmlformats.org/officeDocument/2006/relationships/slideLayout" Target="../slideLayouts/slideLayout83.xml"/><Relationship Id="rId43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0"/>
          <p:cNvSpPr/>
          <p:nvPr userDrawn="1"/>
        </p:nvSpPr>
        <p:spPr>
          <a:xfrm>
            <a:off x="-17463" y="-33338"/>
            <a:ext cx="9161463" cy="755651"/>
          </a:xfrm>
          <a:prstGeom prst="rect">
            <a:avLst/>
          </a:prstGeom>
          <a:solidFill>
            <a:srgbClr val="BFC5C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0" y="4879975"/>
            <a:ext cx="9144000" cy="26352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cs typeface="+mn-cs"/>
            </a:endParaRPr>
          </a:p>
        </p:txBody>
      </p:sp>
      <p:grpSp>
        <p:nvGrpSpPr>
          <p:cNvPr id="3080" name="Группа 10"/>
          <p:cNvGrpSpPr>
            <a:grpSpLocks noChangeAspect="1"/>
          </p:cNvGrpSpPr>
          <p:nvPr userDrawn="1"/>
        </p:nvGrpSpPr>
        <p:grpSpPr bwMode="auto">
          <a:xfrm>
            <a:off x="8496300" y="4948238"/>
            <a:ext cx="306388" cy="136525"/>
            <a:chOff x="5385680" y="6487509"/>
            <a:chExt cx="1039813" cy="461962"/>
          </a:xfrm>
        </p:grpSpPr>
        <p:sp>
          <p:nvSpPr>
            <p:cNvPr id="1072" name="Freeform 27"/>
            <p:cNvSpPr>
              <a:spLocks/>
            </p:cNvSpPr>
            <p:nvPr userDrawn="1"/>
          </p:nvSpPr>
          <p:spPr bwMode="auto">
            <a:xfrm>
              <a:off x="6048359" y="6487509"/>
              <a:ext cx="377134" cy="343786"/>
            </a:xfrm>
            <a:custGeom>
              <a:avLst/>
              <a:gdLst>
                <a:gd name="T0" fmla="*/ 2147483647 w 1195"/>
                <a:gd name="T1" fmla="*/ 2147483647 h 1091"/>
                <a:gd name="T2" fmla="*/ 2147483647 w 1195"/>
                <a:gd name="T3" fmla="*/ 2147483647 h 1091"/>
                <a:gd name="T4" fmla="*/ 2147483647 w 1195"/>
                <a:gd name="T5" fmla="*/ 2147483647 h 1091"/>
                <a:gd name="T6" fmla="*/ 2147483647 w 1195"/>
                <a:gd name="T7" fmla="*/ 2147483647 h 1091"/>
                <a:gd name="T8" fmla="*/ 2147483647 w 1195"/>
                <a:gd name="T9" fmla="*/ 2147483647 h 1091"/>
                <a:gd name="T10" fmla="*/ 2147483647 w 1195"/>
                <a:gd name="T11" fmla="*/ 2147483647 h 1091"/>
                <a:gd name="T12" fmla="*/ 2147483647 w 1195"/>
                <a:gd name="T13" fmla="*/ 2147483647 h 1091"/>
                <a:gd name="T14" fmla="*/ 2147483647 w 1195"/>
                <a:gd name="T15" fmla="*/ 2147483647 h 1091"/>
                <a:gd name="T16" fmla="*/ 2147483647 w 1195"/>
                <a:gd name="T17" fmla="*/ 2147483647 h 1091"/>
                <a:gd name="T18" fmla="*/ 2147483647 w 1195"/>
                <a:gd name="T19" fmla="*/ 2147483647 h 1091"/>
                <a:gd name="T20" fmla="*/ 2147483647 w 1195"/>
                <a:gd name="T21" fmla="*/ 2147483647 h 1091"/>
                <a:gd name="T22" fmla="*/ 2147483647 w 1195"/>
                <a:gd name="T23" fmla="*/ 2147483647 h 1091"/>
                <a:gd name="T24" fmla="*/ 2147483647 w 1195"/>
                <a:gd name="T25" fmla="*/ 2147483647 h 1091"/>
                <a:gd name="T26" fmla="*/ 2147483647 w 1195"/>
                <a:gd name="T27" fmla="*/ 2147483647 h 1091"/>
                <a:gd name="T28" fmla="*/ 2147483647 w 1195"/>
                <a:gd name="T29" fmla="*/ 2147483647 h 1091"/>
                <a:gd name="T30" fmla="*/ 2147483647 w 1195"/>
                <a:gd name="T31" fmla="*/ 2147483647 h 1091"/>
                <a:gd name="T32" fmla="*/ 2147483647 w 1195"/>
                <a:gd name="T33" fmla="*/ 2147483647 h 1091"/>
                <a:gd name="T34" fmla="*/ 2147483647 w 1195"/>
                <a:gd name="T35" fmla="*/ 2147483647 h 1091"/>
                <a:gd name="T36" fmla="*/ 2147483647 w 1195"/>
                <a:gd name="T37" fmla="*/ 2147483647 h 1091"/>
                <a:gd name="T38" fmla="*/ 2147483647 w 1195"/>
                <a:gd name="T39" fmla="*/ 2147483647 h 1091"/>
                <a:gd name="T40" fmla="*/ 2147483647 w 1195"/>
                <a:gd name="T41" fmla="*/ 2147483647 h 1091"/>
                <a:gd name="T42" fmla="*/ 2147483647 w 1195"/>
                <a:gd name="T43" fmla="*/ 2147483647 h 1091"/>
                <a:gd name="T44" fmla="*/ 2147483647 w 1195"/>
                <a:gd name="T45" fmla="*/ 2147483647 h 1091"/>
                <a:gd name="T46" fmla="*/ 2147483647 w 1195"/>
                <a:gd name="T47" fmla="*/ 2147483647 h 1091"/>
                <a:gd name="T48" fmla="*/ 2147483647 w 1195"/>
                <a:gd name="T49" fmla="*/ 2147483647 h 1091"/>
                <a:gd name="T50" fmla="*/ 2147483647 w 1195"/>
                <a:gd name="T51" fmla="*/ 2147483647 h 1091"/>
                <a:gd name="T52" fmla="*/ 2147483647 w 1195"/>
                <a:gd name="T53" fmla="*/ 2147483647 h 1091"/>
                <a:gd name="T54" fmla="*/ 2147483647 w 1195"/>
                <a:gd name="T55" fmla="*/ 2147483647 h 1091"/>
                <a:gd name="T56" fmla="*/ 2147483647 w 1195"/>
                <a:gd name="T57" fmla="*/ 2147483647 h 1091"/>
                <a:gd name="T58" fmla="*/ 2147483647 w 1195"/>
                <a:gd name="T59" fmla="*/ 2147483647 h 1091"/>
                <a:gd name="T60" fmla="*/ 2147483647 w 1195"/>
                <a:gd name="T61" fmla="*/ 2147483647 h 1091"/>
                <a:gd name="T62" fmla="*/ 2147483647 w 1195"/>
                <a:gd name="T63" fmla="*/ 2147483647 h 1091"/>
                <a:gd name="T64" fmla="*/ 2147483647 w 1195"/>
                <a:gd name="T65" fmla="*/ 2147483647 h 1091"/>
                <a:gd name="T66" fmla="*/ 2147483647 w 1195"/>
                <a:gd name="T67" fmla="*/ 2147483647 h 1091"/>
                <a:gd name="T68" fmla="*/ 2147483647 w 1195"/>
                <a:gd name="T69" fmla="*/ 2147483647 h 1091"/>
                <a:gd name="T70" fmla="*/ 2147483647 w 1195"/>
                <a:gd name="T71" fmla="*/ 2147483647 h 1091"/>
                <a:gd name="T72" fmla="*/ 2147483647 w 1195"/>
                <a:gd name="T73" fmla="*/ 2147483647 h 1091"/>
                <a:gd name="T74" fmla="*/ 2147483647 w 1195"/>
                <a:gd name="T75" fmla="*/ 2147483647 h 1091"/>
                <a:gd name="T76" fmla="*/ 2147483647 w 1195"/>
                <a:gd name="T77" fmla="*/ 2147483647 h 1091"/>
                <a:gd name="T78" fmla="*/ 2147483647 w 1195"/>
                <a:gd name="T79" fmla="*/ 2147483647 h 1091"/>
                <a:gd name="T80" fmla="*/ 2147483647 w 1195"/>
                <a:gd name="T81" fmla="*/ 2147483647 h 1091"/>
                <a:gd name="T82" fmla="*/ 2147483647 w 1195"/>
                <a:gd name="T83" fmla="*/ 2147483647 h 1091"/>
                <a:gd name="T84" fmla="*/ 2147483647 w 1195"/>
                <a:gd name="T85" fmla="*/ 2147483647 h 1091"/>
                <a:gd name="T86" fmla="*/ 2147483647 w 1195"/>
                <a:gd name="T87" fmla="*/ 2147483647 h 1091"/>
                <a:gd name="T88" fmla="*/ 2147483647 w 1195"/>
                <a:gd name="T89" fmla="*/ 2147483647 h 1091"/>
                <a:gd name="T90" fmla="*/ 2147483647 w 1195"/>
                <a:gd name="T91" fmla="*/ 0 h 1091"/>
                <a:gd name="T92" fmla="*/ 2147483647 w 1195"/>
                <a:gd name="T93" fmla="*/ 2147483647 h 1091"/>
                <a:gd name="T94" fmla="*/ 2147483647 w 1195"/>
                <a:gd name="T95" fmla="*/ 2147483647 h 1091"/>
                <a:gd name="T96" fmla="*/ 2147483647 w 1195"/>
                <a:gd name="T97" fmla="*/ 2147483647 h 1091"/>
                <a:gd name="T98" fmla="*/ 2147483647 w 1195"/>
                <a:gd name="T99" fmla="*/ 2147483647 h 1091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latin typeface="Calibri" charset="0"/>
              </a:endParaRPr>
            </a:p>
          </p:txBody>
        </p:sp>
        <p:sp>
          <p:nvSpPr>
            <p:cNvPr id="1073" name="Freeform 28"/>
            <p:cNvSpPr>
              <a:spLocks/>
            </p:cNvSpPr>
            <p:nvPr userDrawn="1"/>
          </p:nvSpPr>
          <p:spPr bwMode="auto">
            <a:xfrm>
              <a:off x="5773589" y="6605685"/>
              <a:ext cx="317871" cy="225609"/>
            </a:xfrm>
            <a:custGeom>
              <a:avLst/>
              <a:gdLst>
                <a:gd name="T0" fmla="*/ 2147483647 w 1002"/>
                <a:gd name="T1" fmla="*/ 0 h 727"/>
                <a:gd name="T2" fmla="*/ 2147483647 w 1002"/>
                <a:gd name="T3" fmla="*/ 0 h 727"/>
                <a:gd name="T4" fmla="*/ 2147483647 w 1002"/>
                <a:gd name="T5" fmla="*/ 2147483647 h 727"/>
                <a:gd name="T6" fmla="*/ 0 w 1002"/>
                <a:gd name="T7" fmla="*/ 2147483647 h 727"/>
                <a:gd name="T8" fmla="*/ 2147483647 w 1002"/>
                <a:gd name="T9" fmla="*/ 0 h 72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latin typeface="Calibri" charset="0"/>
              </a:endParaRPr>
            </a:p>
          </p:txBody>
        </p:sp>
        <p:sp>
          <p:nvSpPr>
            <p:cNvPr id="1074" name="Freeform 29"/>
            <p:cNvSpPr>
              <a:spLocks/>
            </p:cNvSpPr>
            <p:nvPr userDrawn="1"/>
          </p:nvSpPr>
          <p:spPr bwMode="auto">
            <a:xfrm>
              <a:off x="5385680" y="6605685"/>
              <a:ext cx="436399" cy="343786"/>
            </a:xfrm>
            <a:custGeom>
              <a:avLst/>
              <a:gdLst>
                <a:gd name="T0" fmla="*/ 0 w 1377"/>
                <a:gd name="T1" fmla="*/ 2147483647 h 1091"/>
                <a:gd name="T2" fmla="*/ 2147483647 w 1377"/>
                <a:gd name="T3" fmla="*/ 2147483647 h 1091"/>
                <a:gd name="T4" fmla="*/ 2147483647 w 1377"/>
                <a:gd name="T5" fmla="*/ 2147483647 h 1091"/>
                <a:gd name="T6" fmla="*/ 2147483647 w 1377"/>
                <a:gd name="T7" fmla="*/ 2147483647 h 1091"/>
                <a:gd name="T8" fmla="*/ 2147483647 w 1377"/>
                <a:gd name="T9" fmla="*/ 2147483647 h 1091"/>
                <a:gd name="T10" fmla="*/ 2147483647 w 1377"/>
                <a:gd name="T11" fmla="*/ 0 h 1091"/>
                <a:gd name="T12" fmla="*/ 2147483647 w 1377"/>
                <a:gd name="T13" fmla="*/ 0 h 1091"/>
                <a:gd name="T14" fmla="*/ 2147483647 w 1377"/>
                <a:gd name="T15" fmla="*/ 0 h 1091"/>
                <a:gd name="T16" fmla="*/ 2147483647 w 1377"/>
                <a:gd name="T17" fmla="*/ 2147483647 h 1091"/>
                <a:gd name="T18" fmla="*/ 2147483647 w 1377"/>
                <a:gd name="T19" fmla="*/ 2147483647 h 1091"/>
                <a:gd name="T20" fmla="*/ 2147483647 w 1377"/>
                <a:gd name="T21" fmla="*/ 2147483647 h 1091"/>
                <a:gd name="T22" fmla="*/ 2147483647 w 1377"/>
                <a:gd name="T23" fmla="*/ 2147483647 h 1091"/>
                <a:gd name="T24" fmla="*/ 2147483647 w 1377"/>
                <a:gd name="T25" fmla="*/ 2147483647 h 1091"/>
                <a:gd name="T26" fmla="*/ 2147483647 w 1377"/>
                <a:gd name="T27" fmla="*/ 2147483647 h 1091"/>
                <a:gd name="T28" fmla="*/ 2147483647 w 1377"/>
                <a:gd name="T29" fmla="*/ 2147483647 h 1091"/>
                <a:gd name="T30" fmla="*/ 2147483647 w 1377"/>
                <a:gd name="T31" fmla="*/ 2147483647 h 1091"/>
                <a:gd name="T32" fmla="*/ 2147483647 w 1377"/>
                <a:gd name="T33" fmla="*/ 2147483647 h 1091"/>
                <a:gd name="T34" fmla="*/ 2147483647 w 1377"/>
                <a:gd name="T35" fmla="*/ 2147483647 h 1091"/>
                <a:gd name="T36" fmla="*/ 2147483647 w 1377"/>
                <a:gd name="T37" fmla="*/ 2147483647 h 1091"/>
                <a:gd name="T38" fmla="*/ 2147483647 w 1377"/>
                <a:gd name="T39" fmla="*/ 2147483647 h 1091"/>
                <a:gd name="T40" fmla="*/ 2147483647 w 1377"/>
                <a:gd name="T41" fmla="*/ 2147483647 h 1091"/>
                <a:gd name="T42" fmla="*/ 2147483647 w 1377"/>
                <a:gd name="T43" fmla="*/ 2147483647 h 1091"/>
                <a:gd name="T44" fmla="*/ 2147483647 w 1377"/>
                <a:gd name="T45" fmla="*/ 2147483647 h 1091"/>
                <a:gd name="T46" fmla="*/ 2147483647 w 1377"/>
                <a:gd name="T47" fmla="*/ 2147483647 h 1091"/>
                <a:gd name="T48" fmla="*/ 2147483647 w 1377"/>
                <a:gd name="T49" fmla="*/ 2147483647 h 1091"/>
                <a:gd name="T50" fmla="*/ 2147483647 w 1377"/>
                <a:gd name="T51" fmla="*/ 2147483647 h 1091"/>
                <a:gd name="T52" fmla="*/ 2147483647 w 1377"/>
                <a:gd name="T53" fmla="*/ 2147483647 h 1091"/>
                <a:gd name="T54" fmla="*/ 2147483647 w 1377"/>
                <a:gd name="T55" fmla="*/ 2147483647 h 1091"/>
                <a:gd name="T56" fmla="*/ 2147483647 w 1377"/>
                <a:gd name="T57" fmla="*/ 2147483647 h 1091"/>
                <a:gd name="T58" fmla="*/ 2147483647 w 1377"/>
                <a:gd name="T59" fmla="*/ 2147483647 h 1091"/>
                <a:gd name="T60" fmla="*/ 2147483647 w 1377"/>
                <a:gd name="T61" fmla="*/ 2147483647 h 1091"/>
                <a:gd name="T62" fmla="*/ 2147483647 w 1377"/>
                <a:gd name="T63" fmla="*/ 2147483647 h 1091"/>
                <a:gd name="T64" fmla="*/ 2147483647 w 1377"/>
                <a:gd name="T65" fmla="*/ 2147483647 h 1091"/>
                <a:gd name="T66" fmla="*/ 2147483647 w 1377"/>
                <a:gd name="T67" fmla="*/ 2147483647 h 1091"/>
                <a:gd name="T68" fmla="*/ 0 w 1377"/>
                <a:gd name="T69" fmla="*/ 2147483647 h 1091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latin typeface="Calibri" charset="0"/>
              </a:endParaRPr>
            </a:p>
          </p:txBody>
        </p:sp>
      </p:grpSp>
      <p:sp>
        <p:nvSpPr>
          <p:cNvPr id="32" name="Rectangle 6"/>
          <p:cNvSpPr>
            <a:spLocks noChangeArrowheads="1"/>
          </p:cNvSpPr>
          <p:nvPr userDrawn="1"/>
        </p:nvSpPr>
        <p:spPr bwMode="auto">
          <a:xfrm>
            <a:off x="-374650" y="-17463"/>
            <a:ext cx="366712" cy="366713"/>
          </a:xfrm>
          <a:prstGeom prst="rect">
            <a:avLst/>
          </a:prstGeom>
          <a:solidFill>
            <a:srgbClr val="E21A1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33" name="Rectangle 7"/>
          <p:cNvSpPr>
            <a:spLocks noChangeArrowheads="1"/>
          </p:cNvSpPr>
          <p:nvPr userDrawn="1"/>
        </p:nvSpPr>
        <p:spPr bwMode="auto">
          <a:xfrm>
            <a:off x="-374650" y="349250"/>
            <a:ext cx="366712" cy="366713"/>
          </a:xfrm>
          <a:prstGeom prst="rect">
            <a:avLst/>
          </a:prstGeom>
          <a:solidFill>
            <a:srgbClr val="394A58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34" name="Rectangle 8"/>
          <p:cNvSpPr>
            <a:spLocks noChangeArrowheads="1"/>
          </p:cNvSpPr>
          <p:nvPr userDrawn="1"/>
        </p:nvSpPr>
        <p:spPr bwMode="auto">
          <a:xfrm>
            <a:off x="-374650" y="715963"/>
            <a:ext cx="366712" cy="366712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35" name="Rectangle 9"/>
          <p:cNvSpPr>
            <a:spLocks noChangeArrowheads="1"/>
          </p:cNvSpPr>
          <p:nvPr userDrawn="1"/>
        </p:nvSpPr>
        <p:spPr bwMode="auto">
          <a:xfrm>
            <a:off x="-374650" y="1081088"/>
            <a:ext cx="366712" cy="366712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36" name="Rectangle 13"/>
          <p:cNvSpPr>
            <a:spLocks noChangeArrowheads="1"/>
          </p:cNvSpPr>
          <p:nvPr userDrawn="1"/>
        </p:nvSpPr>
        <p:spPr bwMode="auto">
          <a:xfrm>
            <a:off x="-374650" y="1447800"/>
            <a:ext cx="366712" cy="366713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37" name="Rectangle 10"/>
          <p:cNvSpPr>
            <a:spLocks noChangeArrowheads="1"/>
          </p:cNvSpPr>
          <p:nvPr userDrawn="1"/>
        </p:nvSpPr>
        <p:spPr bwMode="auto">
          <a:xfrm>
            <a:off x="-774700" y="-22225"/>
            <a:ext cx="366712" cy="377825"/>
          </a:xfrm>
          <a:prstGeom prst="rect">
            <a:avLst/>
          </a:prstGeom>
          <a:solidFill>
            <a:srgbClr val="CECCA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38" name="Rectangle 12"/>
          <p:cNvSpPr>
            <a:spLocks noChangeArrowheads="1"/>
          </p:cNvSpPr>
          <p:nvPr userDrawn="1"/>
        </p:nvSpPr>
        <p:spPr bwMode="auto">
          <a:xfrm>
            <a:off x="-781050" y="3303588"/>
            <a:ext cx="366712" cy="366712"/>
          </a:xfrm>
          <a:prstGeom prst="rect">
            <a:avLst/>
          </a:prstGeom>
          <a:solidFill>
            <a:srgbClr val="78D64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18669F"/>
              </a:solidFill>
              <a:latin typeface="+mn-lt"/>
            </a:endParaRPr>
          </a:p>
        </p:txBody>
      </p:sp>
      <p:sp>
        <p:nvSpPr>
          <p:cNvPr id="39" name="Rectangle 12"/>
          <p:cNvSpPr>
            <a:spLocks noChangeArrowheads="1"/>
          </p:cNvSpPr>
          <p:nvPr userDrawn="1"/>
        </p:nvSpPr>
        <p:spPr bwMode="auto">
          <a:xfrm>
            <a:off x="-1601788" y="-22225"/>
            <a:ext cx="366713" cy="366713"/>
          </a:xfrm>
          <a:prstGeom prst="rect">
            <a:avLst/>
          </a:prstGeom>
          <a:solidFill>
            <a:srgbClr val="FF690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18669F"/>
              </a:solidFill>
              <a:latin typeface="+mn-lt"/>
            </a:endParaRPr>
          </a:p>
        </p:txBody>
      </p:sp>
      <p:sp>
        <p:nvSpPr>
          <p:cNvPr id="40" name="Rectangle 13"/>
          <p:cNvSpPr>
            <a:spLocks noChangeArrowheads="1"/>
          </p:cNvSpPr>
          <p:nvPr userDrawn="1"/>
        </p:nvSpPr>
        <p:spPr bwMode="auto">
          <a:xfrm>
            <a:off x="-374650" y="1828800"/>
            <a:ext cx="366712" cy="366713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41" name="Rectangle 7"/>
          <p:cNvSpPr>
            <a:spLocks noChangeArrowheads="1"/>
          </p:cNvSpPr>
          <p:nvPr userDrawn="1"/>
        </p:nvSpPr>
        <p:spPr bwMode="auto">
          <a:xfrm>
            <a:off x="-374650" y="2211388"/>
            <a:ext cx="366712" cy="366712"/>
          </a:xfrm>
          <a:prstGeom prst="rect">
            <a:avLst/>
          </a:prstGeom>
          <a:solidFill>
            <a:srgbClr val="60606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42" name="Rectangle 7"/>
          <p:cNvSpPr>
            <a:spLocks noChangeArrowheads="1"/>
          </p:cNvSpPr>
          <p:nvPr userDrawn="1"/>
        </p:nvSpPr>
        <p:spPr bwMode="auto">
          <a:xfrm>
            <a:off x="-374650" y="2571750"/>
            <a:ext cx="366712" cy="366713"/>
          </a:xfrm>
          <a:prstGeom prst="rect">
            <a:avLst/>
          </a:prstGeom>
          <a:solidFill>
            <a:srgbClr val="828282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43" name="Rectangle 7"/>
          <p:cNvSpPr>
            <a:spLocks noChangeArrowheads="1"/>
          </p:cNvSpPr>
          <p:nvPr userDrawn="1"/>
        </p:nvSpPr>
        <p:spPr bwMode="auto">
          <a:xfrm>
            <a:off x="-374650" y="2943225"/>
            <a:ext cx="366712" cy="366713"/>
          </a:xfrm>
          <a:prstGeom prst="rect">
            <a:avLst/>
          </a:prstGeom>
          <a:solidFill>
            <a:srgbClr val="A9A9A9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44" name="Rectangle 7"/>
          <p:cNvSpPr>
            <a:spLocks noChangeArrowheads="1"/>
          </p:cNvSpPr>
          <p:nvPr userDrawn="1"/>
        </p:nvSpPr>
        <p:spPr bwMode="auto">
          <a:xfrm>
            <a:off x="-374650" y="3314700"/>
            <a:ext cx="366712" cy="366713"/>
          </a:xfrm>
          <a:prstGeom prst="rect">
            <a:avLst/>
          </a:prstGeom>
          <a:solidFill>
            <a:srgbClr val="D3D3D3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45" name="Rectangle 10"/>
          <p:cNvSpPr>
            <a:spLocks noChangeArrowheads="1"/>
          </p:cNvSpPr>
          <p:nvPr userDrawn="1"/>
        </p:nvSpPr>
        <p:spPr bwMode="auto">
          <a:xfrm>
            <a:off x="-774700" y="355600"/>
            <a:ext cx="366712" cy="366713"/>
          </a:xfrm>
          <a:prstGeom prst="rect">
            <a:avLst/>
          </a:prstGeom>
          <a:solidFill>
            <a:srgbClr val="85865F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46" name="Rectangle 10"/>
          <p:cNvSpPr>
            <a:spLocks noChangeArrowheads="1"/>
          </p:cNvSpPr>
          <p:nvPr userDrawn="1"/>
        </p:nvSpPr>
        <p:spPr bwMode="auto">
          <a:xfrm>
            <a:off x="-774700" y="715963"/>
            <a:ext cx="366712" cy="366712"/>
          </a:xfrm>
          <a:prstGeom prst="rect">
            <a:avLst/>
          </a:prstGeom>
          <a:solidFill>
            <a:srgbClr val="DDDCB4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47" name="Rectangle 10"/>
          <p:cNvSpPr>
            <a:spLocks noChangeArrowheads="1"/>
          </p:cNvSpPr>
          <p:nvPr userDrawn="1"/>
        </p:nvSpPr>
        <p:spPr bwMode="auto">
          <a:xfrm>
            <a:off x="-774700" y="1082675"/>
            <a:ext cx="366712" cy="366713"/>
          </a:xfrm>
          <a:prstGeom prst="rect">
            <a:avLst/>
          </a:prstGeom>
          <a:solidFill>
            <a:srgbClr val="EBEAD4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48" name="Rectangle 10"/>
          <p:cNvSpPr>
            <a:spLocks noChangeArrowheads="1"/>
          </p:cNvSpPr>
          <p:nvPr userDrawn="1"/>
        </p:nvSpPr>
        <p:spPr bwMode="auto">
          <a:xfrm>
            <a:off x="-774700" y="1447800"/>
            <a:ext cx="366712" cy="388938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49" name="Rectangle 10"/>
          <p:cNvSpPr>
            <a:spLocks noChangeArrowheads="1"/>
          </p:cNvSpPr>
          <p:nvPr userDrawn="1"/>
        </p:nvSpPr>
        <p:spPr bwMode="auto">
          <a:xfrm>
            <a:off x="-774700" y="1836738"/>
            <a:ext cx="366712" cy="366712"/>
          </a:xfrm>
          <a:prstGeom prst="rect">
            <a:avLst/>
          </a:prstGeom>
          <a:solidFill>
            <a:srgbClr val="626B45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50" name="Rectangle 10"/>
          <p:cNvSpPr>
            <a:spLocks noChangeArrowheads="1"/>
          </p:cNvSpPr>
          <p:nvPr userDrawn="1"/>
        </p:nvSpPr>
        <p:spPr bwMode="auto">
          <a:xfrm>
            <a:off x="-774700" y="2203450"/>
            <a:ext cx="366712" cy="366713"/>
          </a:xfrm>
          <a:prstGeom prst="rect">
            <a:avLst/>
          </a:prstGeom>
          <a:solidFill>
            <a:srgbClr val="828B5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51" name="Rectangle 10"/>
          <p:cNvSpPr>
            <a:spLocks noChangeArrowheads="1"/>
          </p:cNvSpPr>
          <p:nvPr userDrawn="1"/>
        </p:nvSpPr>
        <p:spPr bwMode="auto">
          <a:xfrm>
            <a:off x="-774700" y="2570163"/>
            <a:ext cx="366712" cy="366712"/>
          </a:xfrm>
          <a:prstGeom prst="rect">
            <a:avLst/>
          </a:prstGeom>
          <a:solidFill>
            <a:srgbClr val="B2B989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52" name="Rectangle 10"/>
          <p:cNvSpPr>
            <a:spLocks noChangeArrowheads="1"/>
          </p:cNvSpPr>
          <p:nvPr userDrawn="1"/>
        </p:nvSpPr>
        <p:spPr bwMode="auto">
          <a:xfrm>
            <a:off x="-774700" y="2936875"/>
            <a:ext cx="366712" cy="366713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53" name="Rectangle 10"/>
          <p:cNvSpPr>
            <a:spLocks noChangeArrowheads="1"/>
          </p:cNvSpPr>
          <p:nvPr userDrawn="1"/>
        </p:nvSpPr>
        <p:spPr bwMode="auto">
          <a:xfrm>
            <a:off x="-1189038" y="-22225"/>
            <a:ext cx="366713" cy="37782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54" name="Rectangle 10"/>
          <p:cNvSpPr>
            <a:spLocks noChangeArrowheads="1"/>
          </p:cNvSpPr>
          <p:nvPr userDrawn="1"/>
        </p:nvSpPr>
        <p:spPr bwMode="auto">
          <a:xfrm>
            <a:off x="-1189038" y="355600"/>
            <a:ext cx="366713" cy="366713"/>
          </a:xfrm>
          <a:prstGeom prst="rect">
            <a:avLst/>
          </a:prstGeom>
          <a:solidFill>
            <a:srgbClr val="003356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55" name="Rectangle 10"/>
          <p:cNvSpPr>
            <a:spLocks noChangeArrowheads="1"/>
          </p:cNvSpPr>
          <p:nvPr userDrawn="1"/>
        </p:nvSpPr>
        <p:spPr bwMode="auto">
          <a:xfrm>
            <a:off x="-1189038" y="715963"/>
            <a:ext cx="366713" cy="366712"/>
          </a:xfrm>
          <a:prstGeom prst="rect">
            <a:avLst/>
          </a:prstGeom>
          <a:solidFill>
            <a:srgbClr val="00507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56" name="Rectangle 10"/>
          <p:cNvSpPr>
            <a:spLocks noChangeArrowheads="1"/>
          </p:cNvSpPr>
          <p:nvPr userDrawn="1"/>
        </p:nvSpPr>
        <p:spPr bwMode="auto">
          <a:xfrm>
            <a:off x="-1189038" y="1082675"/>
            <a:ext cx="366713" cy="366713"/>
          </a:xfrm>
          <a:prstGeom prst="rect">
            <a:avLst/>
          </a:prstGeom>
          <a:solidFill>
            <a:srgbClr val="007FB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57" name="Rectangle 10"/>
          <p:cNvSpPr>
            <a:spLocks noChangeArrowheads="1"/>
          </p:cNvSpPr>
          <p:nvPr userDrawn="1"/>
        </p:nvSpPr>
        <p:spPr bwMode="auto">
          <a:xfrm>
            <a:off x="-1189038" y="1447800"/>
            <a:ext cx="366713" cy="388938"/>
          </a:xfrm>
          <a:prstGeom prst="rect">
            <a:avLst/>
          </a:prstGeom>
          <a:solidFill>
            <a:srgbClr val="8AB0D2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58" name="Rectangle 10"/>
          <p:cNvSpPr>
            <a:spLocks noChangeArrowheads="1"/>
          </p:cNvSpPr>
          <p:nvPr userDrawn="1"/>
        </p:nvSpPr>
        <p:spPr bwMode="auto">
          <a:xfrm>
            <a:off x="-1189038" y="1825625"/>
            <a:ext cx="366713" cy="373063"/>
          </a:xfrm>
          <a:prstGeom prst="rect">
            <a:avLst/>
          </a:prstGeom>
          <a:solidFill>
            <a:srgbClr val="00A3E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59" name="Rectangle 10"/>
          <p:cNvSpPr>
            <a:spLocks noChangeArrowheads="1"/>
          </p:cNvSpPr>
          <p:nvPr userDrawn="1"/>
        </p:nvSpPr>
        <p:spPr bwMode="auto">
          <a:xfrm>
            <a:off x="-1189038" y="2198688"/>
            <a:ext cx="366713" cy="373062"/>
          </a:xfrm>
          <a:prstGeom prst="rect">
            <a:avLst/>
          </a:prstGeom>
          <a:solidFill>
            <a:srgbClr val="206689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60" name="Rectangle 10"/>
          <p:cNvSpPr>
            <a:spLocks noChangeArrowheads="1"/>
          </p:cNvSpPr>
          <p:nvPr userDrawn="1"/>
        </p:nvSpPr>
        <p:spPr bwMode="auto">
          <a:xfrm>
            <a:off x="-1189038" y="2570163"/>
            <a:ext cx="366713" cy="373062"/>
          </a:xfrm>
          <a:prstGeom prst="rect">
            <a:avLst/>
          </a:prstGeom>
          <a:solidFill>
            <a:srgbClr val="2F87B6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61" name="Rectangle 10"/>
          <p:cNvSpPr>
            <a:spLocks noChangeArrowheads="1"/>
          </p:cNvSpPr>
          <p:nvPr userDrawn="1"/>
        </p:nvSpPr>
        <p:spPr bwMode="auto">
          <a:xfrm>
            <a:off x="-1189038" y="2941638"/>
            <a:ext cx="366713" cy="373062"/>
          </a:xfrm>
          <a:prstGeom prst="rect">
            <a:avLst/>
          </a:prstGeom>
          <a:solidFill>
            <a:srgbClr val="61B9E9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62" name="Rectangle 10"/>
          <p:cNvSpPr>
            <a:spLocks noChangeArrowheads="1"/>
          </p:cNvSpPr>
          <p:nvPr userDrawn="1"/>
        </p:nvSpPr>
        <p:spPr bwMode="auto">
          <a:xfrm>
            <a:off x="-1189038" y="3303588"/>
            <a:ext cx="366713" cy="373062"/>
          </a:xfrm>
          <a:prstGeom prst="rect">
            <a:avLst/>
          </a:prstGeom>
          <a:solidFill>
            <a:srgbClr val="B0DCF4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63" name="Rectangle 12"/>
          <p:cNvSpPr>
            <a:spLocks noChangeArrowheads="1"/>
          </p:cNvSpPr>
          <p:nvPr userDrawn="1"/>
        </p:nvSpPr>
        <p:spPr bwMode="auto">
          <a:xfrm>
            <a:off x="-781050" y="3676650"/>
            <a:ext cx="366712" cy="366713"/>
          </a:xfrm>
          <a:prstGeom prst="rect">
            <a:avLst/>
          </a:prstGeom>
          <a:solidFill>
            <a:srgbClr val="658446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18669F"/>
              </a:solidFill>
              <a:latin typeface="+mn-lt"/>
            </a:endParaRPr>
          </a:p>
        </p:txBody>
      </p:sp>
      <p:sp>
        <p:nvSpPr>
          <p:cNvPr id="64" name="Rectangle 12"/>
          <p:cNvSpPr>
            <a:spLocks noChangeArrowheads="1"/>
          </p:cNvSpPr>
          <p:nvPr userDrawn="1"/>
        </p:nvSpPr>
        <p:spPr bwMode="auto">
          <a:xfrm>
            <a:off x="-781050" y="4043363"/>
            <a:ext cx="366712" cy="366712"/>
          </a:xfrm>
          <a:prstGeom prst="rect">
            <a:avLst/>
          </a:prstGeom>
          <a:solidFill>
            <a:srgbClr val="7FA357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18669F"/>
              </a:solidFill>
              <a:latin typeface="+mn-lt"/>
            </a:endParaRPr>
          </a:p>
        </p:txBody>
      </p:sp>
      <p:sp>
        <p:nvSpPr>
          <p:cNvPr id="65" name="Rectangle 12"/>
          <p:cNvSpPr>
            <a:spLocks noChangeArrowheads="1"/>
          </p:cNvSpPr>
          <p:nvPr userDrawn="1"/>
        </p:nvSpPr>
        <p:spPr bwMode="auto">
          <a:xfrm>
            <a:off x="-781050" y="4410075"/>
            <a:ext cx="366712" cy="366713"/>
          </a:xfrm>
          <a:prstGeom prst="rect">
            <a:avLst/>
          </a:prstGeom>
          <a:solidFill>
            <a:srgbClr val="AED086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18669F"/>
              </a:solidFill>
              <a:latin typeface="+mn-lt"/>
            </a:endParaRPr>
          </a:p>
        </p:txBody>
      </p:sp>
      <p:sp>
        <p:nvSpPr>
          <p:cNvPr id="66" name="Rectangle 12"/>
          <p:cNvSpPr>
            <a:spLocks noChangeArrowheads="1"/>
          </p:cNvSpPr>
          <p:nvPr userDrawn="1"/>
        </p:nvSpPr>
        <p:spPr bwMode="auto">
          <a:xfrm>
            <a:off x="-781050" y="4781550"/>
            <a:ext cx="366712" cy="366713"/>
          </a:xfrm>
          <a:prstGeom prst="rect">
            <a:avLst/>
          </a:prstGeom>
          <a:solidFill>
            <a:srgbClr val="D6E8C3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18669F"/>
              </a:solidFill>
              <a:latin typeface="+mn-lt"/>
            </a:endParaRPr>
          </a:p>
        </p:txBody>
      </p:sp>
      <p:sp>
        <p:nvSpPr>
          <p:cNvPr id="67" name="Rectangle 12"/>
          <p:cNvSpPr>
            <a:spLocks noChangeArrowheads="1"/>
          </p:cNvSpPr>
          <p:nvPr userDrawn="1"/>
        </p:nvSpPr>
        <p:spPr bwMode="auto">
          <a:xfrm>
            <a:off x="-1601788" y="334963"/>
            <a:ext cx="366713" cy="366712"/>
          </a:xfrm>
          <a:prstGeom prst="rect">
            <a:avLst/>
          </a:prstGeom>
          <a:solidFill>
            <a:srgbClr val="80503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18669F"/>
              </a:solidFill>
              <a:latin typeface="+mn-lt"/>
            </a:endParaRPr>
          </a:p>
        </p:txBody>
      </p:sp>
      <p:sp>
        <p:nvSpPr>
          <p:cNvPr id="68" name="Rectangle 12"/>
          <p:cNvSpPr>
            <a:spLocks noChangeArrowheads="1"/>
          </p:cNvSpPr>
          <p:nvPr userDrawn="1"/>
        </p:nvSpPr>
        <p:spPr bwMode="auto">
          <a:xfrm>
            <a:off x="-1601788" y="701675"/>
            <a:ext cx="366713" cy="366713"/>
          </a:xfrm>
          <a:prstGeom prst="rect">
            <a:avLst/>
          </a:prstGeom>
          <a:solidFill>
            <a:srgbClr val="AC6B2F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18669F"/>
              </a:solidFill>
              <a:latin typeface="+mn-lt"/>
            </a:endParaRPr>
          </a:p>
        </p:txBody>
      </p:sp>
      <p:sp>
        <p:nvSpPr>
          <p:cNvPr id="69" name="Rectangle 12"/>
          <p:cNvSpPr>
            <a:spLocks noChangeArrowheads="1"/>
          </p:cNvSpPr>
          <p:nvPr userDrawn="1"/>
        </p:nvSpPr>
        <p:spPr bwMode="auto">
          <a:xfrm>
            <a:off x="-1601788" y="1068388"/>
            <a:ext cx="366713" cy="366712"/>
          </a:xfrm>
          <a:prstGeom prst="rect">
            <a:avLst/>
          </a:prstGeom>
          <a:solidFill>
            <a:srgbClr val="E4A063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18669F"/>
              </a:solidFill>
              <a:latin typeface="+mn-lt"/>
            </a:endParaRPr>
          </a:p>
        </p:txBody>
      </p:sp>
      <p:sp>
        <p:nvSpPr>
          <p:cNvPr id="70" name="Rectangle 12"/>
          <p:cNvSpPr>
            <a:spLocks noChangeArrowheads="1"/>
          </p:cNvSpPr>
          <p:nvPr userDrawn="1"/>
        </p:nvSpPr>
        <p:spPr bwMode="auto">
          <a:xfrm>
            <a:off x="-1601788" y="1435100"/>
            <a:ext cx="366713" cy="366713"/>
          </a:xfrm>
          <a:prstGeom prst="rect">
            <a:avLst/>
          </a:prstGeom>
          <a:solidFill>
            <a:srgbClr val="F1D0B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18669F"/>
              </a:solidFill>
              <a:latin typeface="+mn-lt"/>
            </a:endParaRPr>
          </a:p>
        </p:txBody>
      </p:sp>
      <p:sp>
        <p:nvSpPr>
          <p:cNvPr id="71" name="TextBox 70"/>
          <p:cNvSpPr txBox="1"/>
          <p:nvPr userDrawn="1"/>
        </p:nvSpPr>
        <p:spPr>
          <a:xfrm>
            <a:off x="-393018" y="3311012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211-211-211</a:t>
            </a:r>
            <a:endParaRPr lang="ru-RU" sz="600" dirty="0">
              <a:latin typeface="+mn-lt"/>
            </a:endParaRPr>
          </a:p>
        </p:txBody>
      </p:sp>
      <p:sp>
        <p:nvSpPr>
          <p:cNvPr id="72" name="TextBox 71"/>
          <p:cNvSpPr txBox="1"/>
          <p:nvPr userDrawn="1"/>
        </p:nvSpPr>
        <p:spPr>
          <a:xfrm>
            <a:off x="-393018" y="2940994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169-169-169</a:t>
            </a:r>
            <a:endParaRPr lang="ru-RU" sz="600" dirty="0">
              <a:latin typeface="+mn-lt"/>
            </a:endParaRPr>
          </a:p>
        </p:txBody>
      </p:sp>
      <p:sp>
        <p:nvSpPr>
          <p:cNvPr id="73" name="TextBox 72"/>
          <p:cNvSpPr txBox="1"/>
          <p:nvPr userDrawn="1"/>
        </p:nvSpPr>
        <p:spPr>
          <a:xfrm>
            <a:off x="-1620688" y="-28575"/>
            <a:ext cx="4633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255-105-</a:t>
            </a:r>
          </a:p>
          <a:p>
            <a:pPr algn="l"/>
            <a:r>
              <a:rPr lang="ru-RU" sz="600" dirty="0" smtClean="0">
                <a:latin typeface="+mn-lt"/>
              </a:rPr>
              <a:t>0</a:t>
            </a:r>
            <a:endParaRPr lang="ru-RU" sz="600" dirty="0">
              <a:latin typeface="+mn-lt"/>
            </a:endParaRPr>
          </a:p>
        </p:txBody>
      </p:sp>
      <p:sp>
        <p:nvSpPr>
          <p:cNvPr id="74" name="TextBox 73"/>
          <p:cNvSpPr txBox="1"/>
          <p:nvPr userDrawn="1"/>
        </p:nvSpPr>
        <p:spPr>
          <a:xfrm>
            <a:off x="-1193360" y="-22212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0-102-161</a:t>
            </a:r>
            <a:endParaRPr lang="ru-RU" sz="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5" name="TextBox 74"/>
          <p:cNvSpPr txBox="1"/>
          <p:nvPr userDrawn="1"/>
        </p:nvSpPr>
        <p:spPr>
          <a:xfrm>
            <a:off x="-393018" y="-19182"/>
            <a:ext cx="4633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226-26-</a:t>
            </a:r>
          </a:p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26</a:t>
            </a:r>
          </a:p>
        </p:txBody>
      </p:sp>
      <p:sp>
        <p:nvSpPr>
          <p:cNvPr id="76" name="TextBox 75"/>
          <p:cNvSpPr txBox="1"/>
          <p:nvPr userDrawn="1"/>
        </p:nvSpPr>
        <p:spPr>
          <a:xfrm>
            <a:off x="-1620688" y="343663"/>
            <a:ext cx="4633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128-80-</a:t>
            </a:r>
          </a:p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48</a:t>
            </a:r>
            <a:endParaRPr lang="ru-RU" sz="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7" name="TextBox 76"/>
          <p:cNvSpPr txBox="1"/>
          <p:nvPr userDrawn="1"/>
        </p:nvSpPr>
        <p:spPr>
          <a:xfrm>
            <a:off x="-791292" y="348708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133-134-95</a:t>
            </a:r>
            <a:endParaRPr lang="ru-RU" sz="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8" name="TextBox 77"/>
          <p:cNvSpPr txBox="1"/>
          <p:nvPr userDrawn="1"/>
        </p:nvSpPr>
        <p:spPr>
          <a:xfrm>
            <a:off x="-791292" y="-19182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206-204-160</a:t>
            </a:r>
            <a:endParaRPr lang="ru-RU" sz="600" dirty="0">
              <a:latin typeface="+mn-lt"/>
            </a:endParaRPr>
          </a:p>
        </p:txBody>
      </p:sp>
      <p:sp>
        <p:nvSpPr>
          <p:cNvPr id="79" name="TextBox 78"/>
          <p:cNvSpPr txBox="1"/>
          <p:nvPr userDrawn="1"/>
        </p:nvSpPr>
        <p:spPr>
          <a:xfrm>
            <a:off x="-1620688" y="715901"/>
            <a:ext cx="4633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172-107-47</a:t>
            </a:r>
          </a:p>
        </p:txBody>
      </p:sp>
      <p:sp>
        <p:nvSpPr>
          <p:cNvPr id="80" name="TextBox 79"/>
          <p:cNvSpPr txBox="1"/>
          <p:nvPr userDrawn="1"/>
        </p:nvSpPr>
        <p:spPr>
          <a:xfrm>
            <a:off x="-791292" y="1084488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235-234-212</a:t>
            </a:r>
            <a:endParaRPr lang="ru-RU" sz="600" dirty="0">
              <a:latin typeface="+mn-lt"/>
            </a:endParaRPr>
          </a:p>
        </p:txBody>
      </p:sp>
      <p:sp>
        <p:nvSpPr>
          <p:cNvPr id="81" name="TextBox 80"/>
          <p:cNvSpPr txBox="1"/>
          <p:nvPr userDrawn="1"/>
        </p:nvSpPr>
        <p:spPr>
          <a:xfrm>
            <a:off x="-1620688" y="1088139"/>
            <a:ext cx="4633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228-160-99</a:t>
            </a:r>
            <a:endParaRPr lang="ru-RU" sz="600" dirty="0">
              <a:latin typeface="+mn-lt"/>
            </a:endParaRPr>
          </a:p>
        </p:txBody>
      </p:sp>
      <p:sp>
        <p:nvSpPr>
          <p:cNvPr id="82" name="TextBox 81"/>
          <p:cNvSpPr txBox="1"/>
          <p:nvPr userDrawn="1"/>
        </p:nvSpPr>
        <p:spPr>
          <a:xfrm>
            <a:off x="-791292" y="716598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221-220-180</a:t>
            </a:r>
            <a:endParaRPr lang="ru-RU" sz="600" dirty="0">
              <a:latin typeface="+mn-lt"/>
            </a:endParaRPr>
          </a:p>
        </p:txBody>
      </p:sp>
      <p:sp>
        <p:nvSpPr>
          <p:cNvPr id="83" name="TextBox 82"/>
          <p:cNvSpPr txBox="1"/>
          <p:nvPr userDrawn="1"/>
        </p:nvSpPr>
        <p:spPr>
          <a:xfrm>
            <a:off x="-791292" y="1452378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163-168-107</a:t>
            </a:r>
            <a:endParaRPr lang="ru-RU" sz="600" dirty="0">
              <a:latin typeface="+mn-lt"/>
            </a:endParaRPr>
          </a:p>
        </p:txBody>
      </p:sp>
      <p:sp>
        <p:nvSpPr>
          <p:cNvPr id="84" name="TextBox 83"/>
          <p:cNvSpPr txBox="1"/>
          <p:nvPr userDrawn="1"/>
        </p:nvSpPr>
        <p:spPr>
          <a:xfrm>
            <a:off x="-1620688" y="1460376"/>
            <a:ext cx="4633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241-208-177</a:t>
            </a:r>
            <a:endParaRPr lang="ru-RU" sz="600" dirty="0">
              <a:latin typeface="+mn-lt"/>
            </a:endParaRPr>
          </a:p>
        </p:txBody>
      </p:sp>
      <p:sp>
        <p:nvSpPr>
          <p:cNvPr id="85" name="TextBox 84"/>
          <p:cNvSpPr txBox="1"/>
          <p:nvPr userDrawn="1"/>
        </p:nvSpPr>
        <p:spPr>
          <a:xfrm>
            <a:off x="-393018" y="1460906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144-156-170</a:t>
            </a:r>
            <a:endParaRPr lang="ru-RU" sz="600" dirty="0">
              <a:latin typeface="+mn-lt"/>
            </a:endParaRPr>
          </a:p>
        </p:txBody>
      </p:sp>
      <p:sp>
        <p:nvSpPr>
          <p:cNvPr id="86" name="TextBox 85"/>
          <p:cNvSpPr txBox="1"/>
          <p:nvPr userDrawn="1"/>
        </p:nvSpPr>
        <p:spPr>
          <a:xfrm>
            <a:off x="-392010" y="339502"/>
            <a:ext cx="3600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57-74-88</a:t>
            </a:r>
            <a:endParaRPr lang="ru-RU" sz="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87" name="TextBox 86"/>
          <p:cNvSpPr txBox="1"/>
          <p:nvPr userDrawn="1"/>
        </p:nvSpPr>
        <p:spPr>
          <a:xfrm>
            <a:off x="-393018" y="720862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69-93-112</a:t>
            </a:r>
            <a:endParaRPr lang="ru-RU" sz="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88" name="TextBox 87"/>
          <p:cNvSpPr txBox="1"/>
          <p:nvPr userDrawn="1"/>
        </p:nvSpPr>
        <p:spPr>
          <a:xfrm>
            <a:off x="-393018" y="1090884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104-121-139</a:t>
            </a:r>
            <a:endParaRPr lang="ru-RU" sz="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89" name="TextBox 88"/>
          <p:cNvSpPr txBox="1"/>
          <p:nvPr userDrawn="1"/>
        </p:nvSpPr>
        <p:spPr>
          <a:xfrm>
            <a:off x="-393018" y="1830928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191-197-206</a:t>
            </a:r>
            <a:endParaRPr lang="ru-RU" sz="600" dirty="0">
              <a:latin typeface="+mn-lt"/>
            </a:endParaRPr>
          </a:p>
        </p:txBody>
      </p:sp>
      <p:sp>
        <p:nvSpPr>
          <p:cNvPr id="90" name="TextBox 89"/>
          <p:cNvSpPr txBox="1"/>
          <p:nvPr userDrawn="1"/>
        </p:nvSpPr>
        <p:spPr>
          <a:xfrm>
            <a:off x="-393018" y="2200950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96-96-96</a:t>
            </a:r>
            <a:endParaRPr lang="ru-RU" sz="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1" name="TextBox 90"/>
          <p:cNvSpPr txBox="1"/>
          <p:nvPr userDrawn="1"/>
        </p:nvSpPr>
        <p:spPr>
          <a:xfrm>
            <a:off x="-393018" y="2570972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130-130-130</a:t>
            </a:r>
            <a:endParaRPr lang="ru-RU" sz="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2" name="TextBox 91"/>
          <p:cNvSpPr txBox="1"/>
          <p:nvPr userDrawn="1"/>
        </p:nvSpPr>
        <p:spPr>
          <a:xfrm>
            <a:off x="-791292" y="2188158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130-139-92</a:t>
            </a:r>
            <a:endParaRPr lang="ru-RU" sz="600" dirty="0">
              <a:latin typeface="+mn-lt"/>
            </a:endParaRPr>
          </a:p>
        </p:txBody>
      </p:sp>
      <p:sp>
        <p:nvSpPr>
          <p:cNvPr id="93" name="TextBox 92"/>
          <p:cNvSpPr txBox="1"/>
          <p:nvPr userDrawn="1"/>
        </p:nvSpPr>
        <p:spPr>
          <a:xfrm>
            <a:off x="-791292" y="1820268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98-107-69</a:t>
            </a:r>
            <a:endParaRPr lang="ru-RU" sz="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4" name="TextBox 93"/>
          <p:cNvSpPr txBox="1"/>
          <p:nvPr userDrawn="1"/>
        </p:nvSpPr>
        <p:spPr>
          <a:xfrm>
            <a:off x="-791292" y="2923938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211-215-189</a:t>
            </a:r>
            <a:endParaRPr lang="ru-RU" sz="600" dirty="0">
              <a:latin typeface="+mn-lt"/>
            </a:endParaRPr>
          </a:p>
        </p:txBody>
      </p:sp>
      <p:sp>
        <p:nvSpPr>
          <p:cNvPr id="95" name="TextBox 94"/>
          <p:cNvSpPr txBox="1"/>
          <p:nvPr userDrawn="1"/>
        </p:nvSpPr>
        <p:spPr>
          <a:xfrm>
            <a:off x="-791292" y="2556048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178-185-137</a:t>
            </a:r>
            <a:endParaRPr lang="ru-RU" sz="600" dirty="0">
              <a:latin typeface="+mn-lt"/>
            </a:endParaRPr>
          </a:p>
        </p:txBody>
      </p:sp>
      <p:sp>
        <p:nvSpPr>
          <p:cNvPr id="96" name="TextBox 95"/>
          <p:cNvSpPr txBox="1"/>
          <p:nvPr userDrawn="1"/>
        </p:nvSpPr>
        <p:spPr>
          <a:xfrm>
            <a:off x="-791292" y="3291830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120-214-75</a:t>
            </a:r>
            <a:endParaRPr lang="ru-RU" sz="600" dirty="0">
              <a:latin typeface="+mn-lt"/>
            </a:endParaRPr>
          </a:p>
        </p:txBody>
      </p:sp>
      <p:sp>
        <p:nvSpPr>
          <p:cNvPr id="97" name="TextBox 96"/>
          <p:cNvSpPr txBox="1"/>
          <p:nvPr userDrawn="1"/>
        </p:nvSpPr>
        <p:spPr>
          <a:xfrm>
            <a:off x="-1188640" y="699542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0-80-124</a:t>
            </a:r>
            <a:endParaRPr lang="ru-RU" sz="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8" name="TextBox 97"/>
          <p:cNvSpPr txBox="1"/>
          <p:nvPr userDrawn="1"/>
        </p:nvSpPr>
        <p:spPr>
          <a:xfrm>
            <a:off x="-1188640" y="339502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0-51-86</a:t>
            </a:r>
            <a:endParaRPr lang="ru-RU" sz="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9" name="TextBox 98"/>
          <p:cNvSpPr txBox="1"/>
          <p:nvPr userDrawn="1"/>
        </p:nvSpPr>
        <p:spPr>
          <a:xfrm>
            <a:off x="-1195034" y="1440064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138-176-210</a:t>
            </a:r>
            <a:endParaRPr lang="ru-RU" sz="600" dirty="0">
              <a:latin typeface="+mn-lt"/>
            </a:endParaRPr>
          </a:p>
        </p:txBody>
      </p:sp>
      <p:sp>
        <p:nvSpPr>
          <p:cNvPr id="100" name="TextBox 99"/>
          <p:cNvSpPr txBox="1"/>
          <p:nvPr userDrawn="1"/>
        </p:nvSpPr>
        <p:spPr>
          <a:xfrm>
            <a:off x="-1178168" y="1059582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0-127-177</a:t>
            </a:r>
            <a:endParaRPr lang="ru-RU" sz="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01" name="TextBox 100"/>
          <p:cNvSpPr txBox="1"/>
          <p:nvPr userDrawn="1"/>
        </p:nvSpPr>
        <p:spPr>
          <a:xfrm>
            <a:off x="-1201428" y="1826938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0-163-224</a:t>
            </a:r>
            <a:endParaRPr lang="ru-RU" sz="600" dirty="0">
              <a:latin typeface="+mn-lt"/>
            </a:endParaRPr>
          </a:p>
        </p:txBody>
      </p:sp>
      <p:sp>
        <p:nvSpPr>
          <p:cNvPr id="102" name="TextBox 101"/>
          <p:cNvSpPr txBox="1"/>
          <p:nvPr userDrawn="1"/>
        </p:nvSpPr>
        <p:spPr>
          <a:xfrm>
            <a:off x="-788562" y="3657390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101-132-70</a:t>
            </a:r>
            <a:endParaRPr lang="ru-RU" sz="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03" name="TextBox 102"/>
          <p:cNvSpPr txBox="1"/>
          <p:nvPr userDrawn="1"/>
        </p:nvSpPr>
        <p:spPr>
          <a:xfrm>
            <a:off x="-788562" y="4393170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174-208-134</a:t>
            </a:r>
            <a:endParaRPr lang="ru-RU" sz="600" dirty="0">
              <a:latin typeface="+mn-lt"/>
            </a:endParaRPr>
          </a:p>
        </p:txBody>
      </p:sp>
      <p:sp>
        <p:nvSpPr>
          <p:cNvPr id="104" name="TextBox 103"/>
          <p:cNvSpPr txBox="1"/>
          <p:nvPr userDrawn="1"/>
        </p:nvSpPr>
        <p:spPr>
          <a:xfrm>
            <a:off x="-788562" y="4025280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127-163-87</a:t>
            </a:r>
            <a:endParaRPr lang="ru-RU" sz="600" dirty="0">
              <a:latin typeface="+mn-lt"/>
            </a:endParaRPr>
          </a:p>
        </p:txBody>
      </p:sp>
      <p:sp>
        <p:nvSpPr>
          <p:cNvPr id="105" name="TextBox 104"/>
          <p:cNvSpPr txBox="1"/>
          <p:nvPr userDrawn="1"/>
        </p:nvSpPr>
        <p:spPr>
          <a:xfrm>
            <a:off x="-788562" y="4761062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214-232-195</a:t>
            </a:r>
            <a:endParaRPr lang="ru-RU" sz="600" dirty="0">
              <a:latin typeface="+mn-lt"/>
            </a:endParaRPr>
          </a:p>
        </p:txBody>
      </p:sp>
      <p:sp>
        <p:nvSpPr>
          <p:cNvPr id="106" name="TextBox 105"/>
          <p:cNvSpPr txBox="1"/>
          <p:nvPr userDrawn="1"/>
        </p:nvSpPr>
        <p:spPr>
          <a:xfrm>
            <a:off x="-1188640" y="2576886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47-135-182</a:t>
            </a:r>
            <a:endParaRPr lang="ru-RU" sz="600" dirty="0">
              <a:latin typeface="+mn-lt"/>
            </a:endParaRPr>
          </a:p>
        </p:txBody>
      </p:sp>
      <p:sp>
        <p:nvSpPr>
          <p:cNvPr id="107" name="TextBox 106"/>
          <p:cNvSpPr txBox="1"/>
          <p:nvPr userDrawn="1"/>
        </p:nvSpPr>
        <p:spPr>
          <a:xfrm>
            <a:off x="-1188640" y="2196404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32-102-137</a:t>
            </a:r>
            <a:endParaRPr lang="ru-RU" sz="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08" name="TextBox 107"/>
          <p:cNvSpPr txBox="1"/>
          <p:nvPr userDrawn="1"/>
        </p:nvSpPr>
        <p:spPr>
          <a:xfrm>
            <a:off x="-1201428" y="2931790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97-185-233</a:t>
            </a:r>
            <a:endParaRPr lang="ru-RU" sz="600" dirty="0">
              <a:latin typeface="+mn-lt"/>
            </a:endParaRPr>
          </a:p>
        </p:txBody>
      </p:sp>
      <p:sp>
        <p:nvSpPr>
          <p:cNvPr id="109" name="TextBox 108"/>
          <p:cNvSpPr txBox="1"/>
          <p:nvPr userDrawn="1"/>
        </p:nvSpPr>
        <p:spPr>
          <a:xfrm>
            <a:off x="-1188640" y="3309788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176-220-244</a:t>
            </a:r>
            <a:endParaRPr lang="ru-RU" sz="600" dirty="0">
              <a:latin typeface="+mn-lt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430" r:id="rId1"/>
    <p:sldLayoutId id="2147484411" r:id="rId2"/>
    <p:sldLayoutId id="2147484412" r:id="rId3"/>
    <p:sldLayoutId id="2147484413" r:id="rId4"/>
    <p:sldLayoutId id="2147484414" r:id="rId5"/>
    <p:sldLayoutId id="2147484415" r:id="rId6"/>
    <p:sldLayoutId id="2147484416" r:id="rId7"/>
    <p:sldLayoutId id="2147484417" r:id="rId8"/>
    <p:sldLayoutId id="2147484418" r:id="rId9"/>
    <p:sldLayoutId id="2147484419" r:id="rId10"/>
    <p:sldLayoutId id="2147484431" r:id="rId11"/>
    <p:sldLayoutId id="2147484434" r:id="rId12"/>
    <p:sldLayoutId id="2147484523" r:id="rId1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Verdana" charset="0"/>
          <a:ea typeface="Verdana" charset="0"/>
          <a:cs typeface="Verdana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Verdana" charset="0"/>
          <a:ea typeface="Verdana" charset="0"/>
          <a:cs typeface="Verdana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Verdana" charset="0"/>
          <a:ea typeface="Verdana" charset="0"/>
          <a:cs typeface="Verdana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Verdana" charset="0"/>
          <a:ea typeface="Verdana" charset="0"/>
          <a:cs typeface="Verdana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Verdana" charset="0"/>
          <a:ea typeface="Verdana" charset="0"/>
          <a:cs typeface="Verdana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Verdana" charset="0"/>
          <a:ea typeface="Verdana" charset="0"/>
          <a:cs typeface="Verdana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Verdana" charset="0"/>
          <a:ea typeface="Verdana" charset="0"/>
          <a:cs typeface="Verdana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Verdana" charset="0"/>
          <a:ea typeface="Verdana" charset="0"/>
          <a:cs typeface="Verdana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7544" y="3"/>
            <a:ext cx="8047806" cy="555524"/>
          </a:xfrm>
          <a:prstGeom prst="rect">
            <a:avLst/>
          </a:prstGeom>
        </p:spPr>
        <p:txBody>
          <a:bodyPr vert="horz" lIns="91436" tIns="45718" rIns="91436" bIns="45718" rtlCol="0" anchor="ctr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804248" y="411510"/>
            <a:ext cx="2057400" cy="274637"/>
          </a:xfrm>
          <a:prstGeom prst="rect">
            <a:avLst/>
          </a:prstGeom>
        </p:spPr>
        <p:txBody>
          <a:bodyPr vert="horz" lIns="91436" tIns="45718" rIns="91436" bIns="45718" rtlCol="0" anchor="ctr"/>
          <a:lstStyle>
            <a:lvl1pPr algn="r">
              <a:defRPr sz="120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defTabSz="914355" fontAlgn="auto">
              <a:spcBef>
                <a:spcPts val="0"/>
              </a:spcBef>
              <a:spcAft>
                <a:spcPts val="0"/>
              </a:spcAft>
            </a:pPr>
            <a:fld id="{696B805C-3653-4111-9D74-7F4262724AD8}" type="slidenum">
              <a:rPr lang="ru-RU" smtClean="0">
                <a:solidFill>
                  <a:srgbClr val="E7E6E6">
                    <a:lumMod val="25000"/>
                  </a:srgbClr>
                </a:solidFill>
                <a:latin typeface="Trebuchet MS"/>
                <a:cs typeface="Arial" pitchFamily="34" charset="0"/>
              </a:rPr>
              <a:pPr defTabSz="914355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dirty="0">
              <a:solidFill>
                <a:srgbClr val="E7E6E6">
                  <a:lumMod val="25000"/>
                </a:srgbClr>
              </a:solidFill>
              <a:latin typeface="Trebuchet MS"/>
              <a:cs typeface="Arial" pitchFamily="34" charset="0"/>
            </a:endParaRPr>
          </a:p>
        </p:txBody>
      </p:sp>
      <p:cxnSp>
        <p:nvCxnSpPr>
          <p:cNvPr id="12" name="Прямая соединительная линия 11"/>
          <p:cNvCxnSpPr/>
          <p:nvPr/>
        </p:nvCxnSpPr>
        <p:spPr>
          <a:xfrm>
            <a:off x="467546" y="551161"/>
            <a:ext cx="7600667" cy="0"/>
          </a:xfrm>
          <a:prstGeom prst="line">
            <a:avLst/>
          </a:prstGeom>
          <a:ln w="12700">
            <a:solidFill>
              <a:schemeClr val="bg2">
                <a:lumMod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Овал 12"/>
          <p:cNvSpPr/>
          <p:nvPr/>
        </p:nvSpPr>
        <p:spPr>
          <a:xfrm>
            <a:off x="567844" y="515158"/>
            <a:ext cx="72008" cy="72008"/>
          </a:xfrm>
          <a:prstGeom prst="ellipse">
            <a:avLst/>
          </a:prstGeom>
          <a:solidFill>
            <a:schemeClr val="bg1"/>
          </a:solidFill>
          <a:ln w="22225">
            <a:solidFill>
              <a:srgbClr val="ED1B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</a:pPr>
            <a:endParaRPr lang="ru-RU" dirty="0">
              <a:solidFill>
                <a:prstClr val="white"/>
              </a:solidFill>
            </a:endParaRP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1" y="551160"/>
            <a:ext cx="567842" cy="0"/>
          </a:xfrm>
          <a:prstGeom prst="line">
            <a:avLst/>
          </a:prstGeom>
          <a:ln w="22225">
            <a:solidFill>
              <a:srgbClr val="ED1B2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Группа 6"/>
          <p:cNvGrpSpPr/>
          <p:nvPr userDrawn="1"/>
        </p:nvGrpSpPr>
        <p:grpSpPr>
          <a:xfrm>
            <a:off x="8094438" y="51470"/>
            <a:ext cx="767210" cy="344046"/>
            <a:chOff x="1047751" y="5751512"/>
            <a:chExt cx="1016000" cy="455613"/>
          </a:xfrm>
          <a:solidFill>
            <a:srgbClr val="ED1B2F"/>
          </a:solidFill>
        </p:grpSpPr>
        <p:sp>
          <p:nvSpPr>
            <p:cNvPr id="8" name="Freeform 5"/>
            <p:cNvSpPr>
              <a:spLocks/>
            </p:cNvSpPr>
            <p:nvPr/>
          </p:nvSpPr>
          <p:spPr bwMode="auto">
            <a:xfrm>
              <a:off x="1428751" y="5864225"/>
              <a:ext cx="309563" cy="230188"/>
            </a:xfrm>
            <a:custGeom>
              <a:avLst/>
              <a:gdLst>
                <a:gd name="T0" fmla="*/ 105 w 195"/>
                <a:gd name="T1" fmla="*/ 0 h 145"/>
                <a:gd name="T2" fmla="*/ 195 w 195"/>
                <a:gd name="T3" fmla="*/ 0 h 145"/>
                <a:gd name="T4" fmla="*/ 87 w 195"/>
                <a:gd name="T5" fmla="*/ 145 h 145"/>
                <a:gd name="T6" fmla="*/ 0 w 195"/>
                <a:gd name="T7" fmla="*/ 145 h 145"/>
                <a:gd name="T8" fmla="*/ 105 w 195"/>
                <a:gd name="T9" fmla="*/ 0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" h="145">
                  <a:moveTo>
                    <a:pt x="105" y="0"/>
                  </a:moveTo>
                  <a:lnTo>
                    <a:pt x="195" y="0"/>
                  </a:lnTo>
                  <a:lnTo>
                    <a:pt x="87" y="145"/>
                  </a:lnTo>
                  <a:lnTo>
                    <a:pt x="0" y="145"/>
                  </a:lnTo>
                  <a:lnTo>
                    <a:pt x="10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1047751" y="5864225"/>
              <a:ext cx="423863" cy="342900"/>
            </a:xfrm>
            <a:custGeom>
              <a:avLst/>
              <a:gdLst>
                <a:gd name="T0" fmla="*/ 0 w 99"/>
                <a:gd name="T1" fmla="*/ 10 h 79"/>
                <a:gd name="T2" fmla="*/ 2 w 99"/>
                <a:gd name="T3" fmla="*/ 2 h 79"/>
                <a:gd name="T4" fmla="*/ 9 w 99"/>
                <a:gd name="T5" fmla="*/ 0 h 79"/>
                <a:gd name="T6" fmla="*/ 64 w 99"/>
                <a:gd name="T7" fmla="*/ 0 h 79"/>
                <a:gd name="T8" fmla="*/ 81 w 99"/>
                <a:gd name="T9" fmla="*/ 2 h 79"/>
                <a:gd name="T10" fmla="*/ 92 w 99"/>
                <a:gd name="T11" fmla="*/ 13 h 79"/>
                <a:gd name="T12" fmla="*/ 95 w 99"/>
                <a:gd name="T13" fmla="*/ 18 h 79"/>
                <a:gd name="T14" fmla="*/ 99 w 99"/>
                <a:gd name="T15" fmla="*/ 27 h 79"/>
                <a:gd name="T16" fmla="*/ 95 w 99"/>
                <a:gd name="T17" fmla="*/ 35 h 79"/>
                <a:gd name="T18" fmla="*/ 82 w 99"/>
                <a:gd name="T19" fmla="*/ 53 h 79"/>
                <a:gd name="T20" fmla="*/ 49 w 99"/>
                <a:gd name="T21" fmla="*/ 53 h 79"/>
                <a:gd name="T22" fmla="*/ 70 w 99"/>
                <a:gd name="T23" fmla="*/ 24 h 79"/>
                <a:gd name="T24" fmla="*/ 73 w 99"/>
                <a:gd name="T25" fmla="*/ 16 h 79"/>
                <a:gd name="T26" fmla="*/ 65 w 99"/>
                <a:gd name="T27" fmla="*/ 13 h 79"/>
                <a:gd name="T28" fmla="*/ 39 w 99"/>
                <a:gd name="T29" fmla="*/ 13 h 79"/>
                <a:gd name="T30" fmla="*/ 39 w 99"/>
                <a:gd name="T31" fmla="*/ 79 h 79"/>
                <a:gd name="T32" fmla="*/ 13 w 99"/>
                <a:gd name="T33" fmla="*/ 79 h 79"/>
                <a:gd name="T34" fmla="*/ 13 w 99"/>
                <a:gd name="T35" fmla="*/ 13 h 79"/>
                <a:gd name="T36" fmla="*/ 0 w 99"/>
                <a:gd name="T37" fmla="*/ 13 h 79"/>
                <a:gd name="T38" fmla="*/ 0 w 99"/>
                <a:gd name="T39" fmla="*/ 1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9" h="79">
                  <a:moveTo>
                    <a:pt x="0" y="10"/>
                  </a:moveTo>
                  <a:cubicBezTo>
                    <a:pt x="0" y="7"/>
                    <a:pt x="0" y="5"/>
                    <a:pt x="2" y="2"/>
                  </a:cubicBezTo>
                  <a:cubicBezTo>
                    <a:pt x="4" y="0"/>
                    <a:pt x="7" y="0"/>
                    <a:pt x="9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71" y="0"/>
                    <a:pt x="76" y="0"/>
                    <a:pt x="81" y="2"/>
                  </a:cubicBezTo>
                  <a:cubicBezTo>
                    <a:pt x="85" y="5"/>
                    <a:pt x="89" y="9"/>
                    <a:pt x="92" y="13"/>
                  </a:cubicBezTo>
                  <a:cubicBezTo>
                    <a:pt x="95" y="18"/>
                    <a:pt x="95" y="18"/>
                    <a:pt x="95" y="18"/>
                  </a:cubicBezTo>
                  <a:cubicBezTo>
                    <a:pt x="97" y="21"/>
                    <a:pt x="99" y="23"/>
                    <a:pt x="99" y="27"/>
                  </a:cubicBezTo>
                  <a:cubicBezTo>
                    <a:pt x="99" y="30"/>
                    <a:pt x="97" y="32"/>
                    <a:pt x="95" y="35"/>
                  </a:cubicBezTo>
                  <a:cubicBezTo>
                    <a:pt x="82" y="53"/>
                    <a:pt x="82" y="53"/>
                    <a:pt x="82" y="53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70" y="24"/>
                    <a:pt x="70" y="24"/>
                    <a:pt x="70" y="24"/>
                  </a:cubicBezTo>
                  <a:cubicBezTo>
                    <a:pt x="72" y="22"/>
                    <a:pt x="74" y="19"/>
                    <a:pt x="73" y="16"/>
                  </a:cubicBezTo>
                  <a:cubicBezTo>
                    <a:pt x="71" y="13"/>
                    <a:pt x="68" y="13"/>
                    <a:pt x="65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79"/>
                    <a:pt x="39" y="79"/>
                    <a:pt x="39" y="79"/>
                  </a:cubicBezTo>
                  <a:cubicBezTo>
                    <a:pt x="13" y="79"/>
                    <a:pt x="13" y="79"/>
                    <a:pt x="13" y="79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0" y="13"/>
                    <a:pt x="0" y="13"/>
                    <a:pt x="0" y="13"/>
                  </a:cubicBezTo>
                  <a:lnTo>
                    <a:pt x="0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1690688" y="5751512"/>
              <a:ext cx="373063" cy="342900"/>
            </a:xfrm>
            <a:custGeom>
              <a:avLst/>
              <a:gdLst>
                <a:gd name="T0" fmla="*/ 17 w 87"/>
                <a:gd name="T1" fmla="*/ 9 h 79"/>
                <a:gd name="T2" fmla="*/ 17 w 87"/>
                <a:gd name="T3" fmla="*/ 13 h 79"/>
                <a:gd name="T4" fmla="*/ 50 w 87"/>
                <a:gd name="T5" fmla="*/ 13 h 79"/>
                <a:gd name="T6" fmla="*/ 58 w 87"/>
                <a:gd name="T7" fmla="*/ 15 h 79"/>
                <a:gd name="T8" fmla="*/ 60 w 87"/>
                <a:gd name="T9" fmla="*/ 23 h 79"/>
                <a:gd name="T10" fmla="*/ 60 w 87"/>
                <a:gd name="T11" fmla="*/ 56 h 79"/>
                <a:gd name="T12" fmla="*/ 58 w 87"/>
                <a:gd name="T13" fmla="*/ 63 h 79"/>
                <a:gd name="T14" fmla="*/ 50 w 87"/>
                <a:gd name="T15" fmla="*/ 66 h 79"/>
                <a:gd name="T16" fmla="*/ 34 w 87"/>
                <a:gd name="T17" fmla="*/ 66 h 79"/>
                <a:gd name="T18" fmla="*/ 27 w 87"/>
                <a:gd name="T19" fmla="*/ 63 h 79"/>
                <a:gd name="T20" fmla="*/ 29 w 87"/>
                <a:gd name="T21" fmla="*/ 55 h 79"/>
                <a:gd name="T22" fmla="*/ 50 w 87"/>
                <a:gd name="T23" fmla="*/ 26 h 79"/>
                <a:gd name="T24" fmla="*/ 17 w 87"/>
                <a:gd name="T25" fmla="*/ 26 h 79"/>
                <a:gd name="T26" fmla="*/ 4 w 87"/>
                <a:gd name="T27" fmla="*/ 44 h 79"/>
                <a:gd name="T28" fmla="*/ 0 w 87"/>
                <a:gd name="T29" fmla="*/ 53 h 79"/>
                <a:gd name="T30" fmla="*/ 4 w 87"/>
                <a:gd name="T31" fmla="*/ 61 h 79"/>
                <a:gd name="T32" fmla="*/ 8 w 87"/>
                <a:gd name="T33" fmla="*/ 66 h 79"/>
                <a:gd name="T34" fmla="*/ 19 w 87"/>
                <a:gd name="T35" fmla="*/ 77 h 79"/>
                <a:gd name="T36" fmla="*/ 35 w 87"/>
                <a:gd name="T37" fmla="*/ 79 h 79"/>
                <a:gd name="T38" fmla="*/ 50 w 87"/>
                <a:gd name="T39" fmla="*/ 79 h 79"/>
                <a:gd name="T40" fmla="*/ 78 w 87"/>
                <a:gd name="T41" fmla="*/ 71 h 79"/>
                <a:gd name="T42" fmla="*/ 87 w 87"/>
                <a:gd name="T43" fmla="*/ 46 h 79"/>
                <a:gd name="T44" fmla="*/ 87 w 87"/>
                <a:gd name="T45" fmla="*/ 33 h 79"/>
                <a:gd name="T46" fmla="*/ 78 w 87"/>
                <a:gd name="T47" fmla="*/ 8 h 79"/>
                <a:gd name="T48" fmla="*/ 50 w 87"/>
                <a:gd name="T49" fmla="*/ 0 h 79"/>
                <a:gd name="T50" fmla="*/ 27 w 87"/>
                <a:gd name="T51" fmla="*/ 0 h 79"/>
                <a:gd name="T52" fmla="*/ 20 w 87"/>
                <a:gd name="T53" fmla="*/ 2 h 79"/>
                <a:gd name="T54" fmla="*/ 17 w 87"/>
                <a:gd name="T55" fmla="*/ 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7" h="79">
                  <a:moveTo>
                    <a:pt x="17" y="9"/>
                  </a:moveTo>
                  <a:cubicBezTo>
                    <a:pt x="17" y="13"/>
                    <a:pt x="17" y="13"/>
                    <a:pt x="17" y="13"/>
                  </a:cubicBezTo>
                  <a:cubicBezTo>
                    <a:pt x="50" y="13"/>
                    <a:pt x="50" y="13"/>
                    <a:pt x="50" y="13"/>
                  </a:cubicBezTo>
                  <a:cubicBezTo>
                    <a:pt x="53" y="13"/>
                    <a:pt x="56" y="13"/>
                    <a:pt x="58" y="15"/>
                  </a:cubicBezTo>
                  <a:cubicBezTo>
                    <a:pt x="60" y="17"/>
                    <a:pt x="60" y="21"/>
                    <a:pt x="60" y="23"/>
                  </a:cubicBezTo>
                  <a:cubicBezTo>
                    <a:pt x="60" y="56"/>
                    <a:pt x="60" y="56"/>
                    <a:pt x="60" y="56"/>
                  </a:cubicBezTo>
                  <a:cubicBezTo>
                    <a:pt x="60" y="58"/>
                    <a:pt x="60" y="61"/>
                    <a:pt x="58" y="63"/>
                  </a:cubicBezTo>
                  <a:cubicBezTo>
                    <a:pt x="56" y="66"/>
                    <a:pt x="53" y="66"/>
                    <a:pt x="50" y="66"/>
                  </a:cubicBezTo>
                  <a:cubicBezTo>
                    <a:pt x="34" y="66"/>
                    <a:pt x="34" y="66"/>
                    <a:pt x="34" y="66"/>
                  </a:cubicBezTo>
                  <a:cubicBezTo>
                    <a:pt x="32" y="66"/>
                    <a:pt x="28" y="66"/>
                    <a:pt x="27" y="63"/>
                  </a:cubicBezTo>
                  <a:cubicBezTo>
                    <a:pt x="25" y="60"/>
                    <a:pt x="27" y="57"/>
                    <a:pt x="29" y="55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17" y="26"/>
                    <a:pt x="17" y="26"/>
                    <a:pt x="17" y="26"/>
                  </a:cubicBezTo>
                  <a:cubicBezTo>
                    <a:pt x="4" y="44"/>
                    <a:pt x="4" y="44"/>
                    <a:pt x="4" y="44"/>
                  </a:cubicBezTo>
                  <a:cubicBezTo>
                    <a:pt x="2" y="47"/>
                    <a:pt x="0" y="49"/>
                    <a:pt x="0" y="53"/>
                  </a:cubicBezTo>
                  <a:cubicBezTo>
                    <a:pt x="0" y="56"/>
                    <a:pt x="2" y="58"/>
                    <a:pt x="4" y="61"/>
                  </a:cubicBezTo>
                  <a:cubicBezTo>
                    <a:pt x="8" y="66"/>
                    <a:pt x="8" y="66"/>
                    <a:pt x="8" y="66"/>
                  </a:cubicBezTo>
                  <a:cubicBezTo>
                    <a:pt x="11" y="70"/>
                    <a:pt x="14" y="74"/>
                    <a:pt x="19" y="77"/>
                  </a:cubicBezTo>
                  <a:cubicBezTo>
                    <a:pt x="23" y="79"/>
                    <a:pt x="28" y="79"/>
                    <a:pt x="35" y="79"/>
                  </a:cubicBezTo>
                  <a:cubicBezTo>
                    <a:pt x="50" y="79"/>
                    <a:pt x="50" y="79"/>
                    <a:pt x="50" y="79"/>
                  </a:cubicBezTo>
                  <a:cubicBezTo>
                    <a:pt x="58" y="79"/>
                    <a:pt x="70" y="79"/>
                    <a:pt x="78" y="71"/>
                  </a:cubicBezTo>
                  <a:cubicBezTo>
                    <a:pt x="87" y="62"/>
                    <a:pt x="87" y="50"/>
                    <a:pt x="87" y="46"/>
                  </a:cubicBezTo>
                  <a:cubicBezTo>
                    <a:pt x="87" y="33"/>
                    <a:pt x="87" y="33"/>
                    <a:pt x="87" y="33"/>
                  </a:cubicBezTo>
                  <a:cubicBezTo>
                    <a:pt x="87" y="28"/>
                    <a:pt x="87" y="16"/>
                    <a:pt x="78" y="8"/>
                  </a:cubicBezTo>
                  <a:cubicBezTo>
                    <a:pt x="70" y="0"/>
                    <a:pt x="58" y="0"/>
                    <a:pt x="50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5" y="0"/>
                    <a:pt x="22" y="0"/>
                    <a:pt x="20" y="2"/>
                  </a:cubicBezTo>
                  <a:cubicBezTo>
                    <a:pt x="17" y="4"/>
                    <a:pt x="17" y="7"/>
                    <a:pt x="17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7705377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449" r:id="rId1"/>
    <p:sldLayoutId id="2147484450" r:id="rId2"/>
    <p:sldLayoutId id="2147484453" r:id="rId3"/>
    <p:sldLayoutId id="2147484454" r:id="rId4"/>
    <p:sldLayoutId id="2147484455" r:id="rId5"/>
    <p:sldLayoutId id="2147484456" r:id="rId6"/>
    <p:sldLayoutId id="2147484457" r:id="rId7"/>
    <p:sldLayoutId id="2147484458" r:id="rId8"/>
    <p:sldLayoutId id="2147484459" r:id="rId9"/>
    <p:sldLayoutId id="2147484460" r:id="rId10"/>
    <p:sldLayoutId id="2147484461" r:id="rId11"/>
    <p:sldLayoutId id="2147484462" r:id="rId12"/>
    <p:sldLayoutId id="2147484463" r:id="rId13"/>
    <p:sldLayoutId id="2147484539" r:id="rId14"/>
    <p:sldLayoutId id="2147484540" r:id="rId15"/>
    <p:sldLayoutId id="2147484541" r:id="rId16"/>
    <p:sldLayoutId id="2147484542" r:id="rId17"/>
  </p:sldLayoutIdLst>
  <p:hf hdr="0" ftr="0" dt="0"/>
  <p:txStyles>
    <p:titleStyle>
      <a:lvl1pPr algn="l" defTabSz="914355" rtl="0" eaLnBrk="1" latinLnBrk="0" hangingPunct="1">
        <a:lnSpc>
          <a:spcPct val="90000"/>
        </a:lnSpc>
        <a:spcBef>
          <a:spcPct val="0"/>
        </a:spcBef>
        <a:buNone/>
        <a:defRPr sz="1600" b="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1pPr>
    </p:titleStyle>
    <p:bodyStyle>
      <a:lvl1pPr marL="228588" indent="-228588" algn="l" defTabSz="91435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4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7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5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4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7544" y="3"/>
            <a:ext cx="8047806" cy="555524"/>
          </a:xfrm>
          <a:prstGeom prst="rect">
            <a:avLst/>
          </a:prstGeom>
        </p:spPr>
        <p:txBody>
          <a:bodyPr vert="horz" lIns="91436" tIns="45718" rIns="91436" bIns="45718" rtlCol="0" anchor="ctr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804248" y="411510"/>
            <a:ext cx="2057400" cy="274637"/>
          </a:xfrm>
          <a:prstGeom prst="rect">
            <a:avLst/>
          </a:prstGeom>
        </p:spPr>
        <p:txBody>
          <a:bodyPr vert="horz" lIns="91436" tIns="45718" rIns="91436" bIns="45718" rtlCol="0" anchor="ctr"/>
          <a:lstStyle>
            <a:lvl1pPr algn="r">
              <a:defRPr sz="120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defTabSz="914355" fontAlgn="auto">
              <a:spcBef>
                <a:spcPts val="0"/>
              </a:spcBef>
              <a:spcAft>
                <a:spcPts val="0"/>
              </a:spcAft>
            </a:pPr>
            <a:fld id="{696B805C-3653-4111-9D74-7F4262724AD8}" type="slidenum">
              <a:rPr lang="ru-RU" smtClean="0">
                <a:solidFill>
                  <a:srgbClr val="E7E6E6">
                    <a:lumMod val="25000"/>
                  </a:srgbClr>
                </a:solidFill>
                <a:latin typeface="Trebuchet MS"/>
                <a:cs typeface="Arial" pitchFamily="34" charset="0"/>
              </a:rPr>
              <a:pPr defTabSz="914355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dirty="0">
              <a:solidFill>
                <a:srgbClr val="E7E6E6">
                  <a:lumMod val="25000"/>
                </a:srgbClr>
              </a:solidFill>
              <a:latin typeface="Trebuchet MS"/>
              <a:cs typeface="Arial" pitchFamily="34" charset="0"/>
            </a:endParaRPr>
          </a:p>
        </p:txBody>
      </p:sp>
      <p:cxnSp>
        <p:nvCxnSpPr>
          <p:cNvPr id="12" name="Прямая соединительная линия 11"/>
          <p:cNvCxnSpPr/>
          <p:nvPr/>
        </p:nvCxnSpPr>
        <p:spPr>
          <a:xfrm>
            <a:off x="467546" y="551161"/>
            <a:ext cx="7600667" cy="0"/>
          </a:xfrm>
          <a:prstGeom prst="line">
            <a:avLst/>
          </a:prstGeom>
          <a:ln w="12700">
            <a:solidFill>
              <a:schemeClr val="bg2">
                <a:lumMod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Овал 12"/>
          <p:cNvSpPr/>
          <p:nvPr/>
        </p:nvSpPr>
        <p:spPr>
          <a:xfrm>
            <a:off x="567844" y="515158"/>
            <a:ext cx="72008" cy="72008"/>
          </a:xfrm>
          <a:prstGeom prst="ellipse">
            <a:avLst/>
          </a:prstGeom>
          <a:solidFill>
            <a:schemeClr val="bg1"/>
          </a:solidFill>
          <a:ln w="22225">
            <a:solidFill>
              <a:srgbClr val="ED1B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</a:pPr>
            <a:endParaRPr lang="ru-RU" dirty="0">
              <a:solidFill>
                <a:prstClr val="white"/>
              </a:solidFill>
            </a:endParaRP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1" y="551160"/>
            <a:ext cx="567842" cy="0"/>
          </a:xfrm>
          <a:prstGeom prst="line">
            <a:avLst/>
          </a:prstGeom>
          <a:ln w="22225">
            <a:solidFill>
              <a:srgbClr val="ED1B2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Группа 6"/>
          <p:cNvGrpSpPr/>
          <p:nvPr userDrawn="1"/>
        </p:nvGrpSpPr>
        <p:grpSpPr>
          <a:xfrm>
            <a:off x="8094438" y="51470"/>
            <a:ext cx="767210" cy="344046"/>
            <a:chOff x="1047751" y="5751512"/>
            <a:chExt cx="1016000" cy="455613"/>
          </a:xfrm>
          <a:solidFill>
            <a:srgbClr val="ED1B2F"/>
          </a:solidFill>
        </p:grpSpPr>
        <p:sp>
          <p:nvSpPr>
            <p:cNvPr id="8" name="Freeform 5"/>
            <p:cNvSpPr>
              <a:spLocks/>
            </p:cNvSpPr>
            <p:nvPr/>
          </p:nvSpPr>
          <p:spPr bwMode="auto">
            <a:xfrm>
              <a:off x="1428751" y="5864225"/>
              <a:ext cx="309563" cy="230188"/>
            </a:xfrm>
            <a:custGeom>
              <a:avLst/>
              <a:gdLst>
                <a:gd name="T0" fmla="*/ 105 w 195"/>
                <a:gd name="T1" fmla="*/ 0 h 145"/>
                <a:gd name="T2" fmla="*/ 195 w 195"/>
                <a:gd name="T3" fmla="*/ 0 h 145"/>
                <a:gd name="T4" fmla="*/ 87 w 195"/>
                <a:gd name="T5" fmla="*/ 145 h 145"/>
                <a:gd name="T6" fmla="*/ 0 w 195"/>
                <a:gd name="T7" fmla="*/ 145 h 145"/>
                <a:gd name="T8" fmla="*/ 105 w 195"/>
                <a:gd name="T9" fmla="*/ 0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" h="145">
                  <a:moveTo>
                    <a:pt x="105" y="0"/>
                  </a:moveTo>
                  <a:lnTo>
                    <a:pt x="195" y="0"/>
                  </a:lnTo>
                  <a:lnTo>
                    <a:pt x="87" y="145"/>
                  </a:lnTo>
                  <a:lnTo>
                    <a:pt x="0" y="145"/>
                  </a:lnTo>
                  <a:lnTo>
                    <a:pt x="10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1047751" y="5864225"/>
              <a:ext cx="423863" cy="342900"/>
            </a:xfrm>
            <a:custGeom>
              <a:avLst/>
              <a:gdLst>
                <a:gd name="T0" fmla="*/ 0 w 99"/>
                <a:gd name="T1" fmla="*/ 10 h 79"/>
                <a:gd name="T2" fmla="*/ 2 w 99"/>
                <a:gd name="T3" fmla="*/ 2 h 79"/>
                <a:gd name="T4" fmla="*/ 9 w 99"/>
                <a:gd name="T5" fmla="*/ 0 h 79"/>
                <a:gd name="T6" fmla="*/ 64 w 99"/>
                <a:gd name="T7" fmla="*/ 0 h 79"/>
                <a:gd name="T8" fmla="*/ 81 w 99"/>
                <a:gd name="T9" fmla="*/ 2 h 79"/>
                <a:gd name="T10" fmla="*/ 92 w 99"/>
                <a:gd name="T11" fmla="*/ 13 h 79"/>
                <a:gd name="T12" fmla="*/ 95 w 99"/>
                <a:gd name="T13" fmla="*/ 18 h 79"/>
                <a:gd name="T14" fmla="*/ 99 w 99"/>
                <a:gd name="T15" fmla="*/ 27 h 79"/>
                <a:gd name="T16" fmla="*/ 95 w 99"/>
                <a:gd name="T17" fmla="*/ 35 h 79"/>
                <a:gd name="T18" fmla="*/ 82 w 99"/>
                <a:gd name="T19" fmla="*/ 53 h 79"/>
                <a:gd name="T20" fmla="*/ 49 w 99"/>
                <a:gd name="T21" fmla="*/ 53 h 79"/>
                <a:gd name="T22" fmla="*/ 70 w 99"/>
                <a:gd name="T23" fmla="*/ 24 h 79"/>
                <a:gd name="T24" fmla="*/ 73 w 99"/>
                <a:gd name="T25" fmla="*/ 16 h 79"/>
                <a:gd name="T26" fmla="*/ 65 w 99"/>
                <a:gd name="T27" fmla="*/ 13 h 79"/>
                <a:gd name="T28" fmla="*/ 39 w 99"/>
                <a:gd name="T29" fmla="*/ 13 h 79"/>
                <a:gd name="T30" fmla="*/ 39 w 99"/>
                <a:gd name="T31" fmla="*/ 79 h 79"/>
                <a:gd name="T32" fmla="*/ 13 w 99"/>
                <a:gd name="T33" fmla="*/ 79 h 79"/>
                <a:gd name="T34" fmla="*/ 13 w 99"/>
                <a:gd name="T35" fmla="*/ 13 h 79"/>
                <a:gd name="T36" fmla="*/ 0 w 99"/>
                <a:gd name="T37" fmla="*/ 13 h 79"/>
                <a:gd name="T38" fmla="*/ 0 w 99"/>
                <a:gd name="T39" fmla="*/ 1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9" h="79">
                  <a:moveTo>
                    <a:pt x="0" y="10"/>
                  </a:moveTo>
                  <a:cubicBezTo>
                    <a:pt x="0" y="7"/>
                    <a:pt x="0" y="5"/>
                    <a:pt x="2" y="2"/>
                  </a:cubicBezTo>
                  <a:cubicBezTo>
                    <a:pt x="4" y="0"/>
                    <a:pt x="7" y="0"/>
                    <a:pt x="9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71" y="0"/>
                    <a:pt x="76" y="0"/>
                    <a:pt x="81" y="2"/>
                  </a:cubicBezTo>
                  <a:cubicBezTo>
                    <a:pt x="85" y="5"/>
                    <a:pt x="89" y="9"/>
                    <a:pt x="92" y="13"/>
                  </a:cubicBezTo>
                  <a:cubicBezTo>
                    <a:pt x="95" y="18"/>
                    <a:pt x="95" y="18"/>
                    <a:pt x="95" y="18"/>
                  </a:cubicBezTo>
                  <a:cubicBezTo>
                    <a:pt x="97" y="21"/>
                    <a:pt x="99" y="23"/>
                    <a:pt x="99" y="27"/>
                  </a:cubicBezTo>
                  <a:cubicBezTo>
                    <a:pt x="99" y="30"/>
                    <a:pt x="97" y="32"/>
                    <a:pt x="95" y="35"/>
                  </a:cubicBezTo>
                  <a:cubicBezTo>
                    <a:pt x="82" y="53"/>
                    <a:pt x="82" y="53"/>
                    <a:pt x="82" y="53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70" y="24"/>
                    <a:pt x="70" y="24"/>
                    <a:pt x="70" y="24"/>
                  </a:cubicBezTo>
                  <a:cubicBezTo>
                    <a:pt x="72" y="22"/>
                    <a:pt x="74" y="19"/>
                    <a:pt x="73" y="16"/>
                  </a:cubicBezTo>
                  <a:cubicBezTo>
                    <a:pt x="71" y="13"/>
                    <a:pt x="68" y="13"/>
                    <a:pt x="65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79"/>
                    <a:pt x="39" y="79"/>
                    <a:pt x="39" y="79"/>
                  </a:cubicBezTo>
                  <a:cubicBezTo>
                    <a:pt x="13" y="79"/>
                    <a:pt x="13" y="79"/>
                    <a:pt x="13" y="79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0" y="13"/>
                    <a:pt x="0" y="13"/>
                    <a:pt x="0" y="13"/>
                  </a:cubicBezTo>
                  <a:lnTo>
                    <a:pt x="0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1690688" y="5751512"/>
              <a:ext cx="373063" cy="342900"/>
            </a:xfrm>
            <a:custGeom>
              <a:avLst/>
              <a:gdLst>
                <a:gd name="T0" fmla="*/ 17 w 87"/>
                <a:gd name="T1" fmla="*/ 9 h 79"/>
                <a:gd name="T2" fmla="*/ 17 w 87"/>
                <a:gd name="T3" fmla="*/ 13 h 79"/>
                <a:gd name="T4" fmla="*/ 50 w 87"/>
                <a:gd name="T5" fmla="*/ 13 h 79"/>
                <a:gd name="T6" fmla="*/ 58 w 87"/>
                <a:gd name="T7" fmla="*/ 15 h 79"/>
                <a:gd name="T8" fmla="*/ 60 w 87"/>
                <a:gd name="T9" fmla="*/ 23 h 79"/>
                <a:gd name="T10" fmla="*/ 60 w 87"/>
                <a:gd name="T11" fmla="*/ 56 h 79"/>
                <a:gd name="T12" fmla="*/ 58 w 87"/>
                <a:gd name="T13" fmla="*/ 63 h 79"/>
                <a:gd name="T14" fmla="*/ 50 w 87"/>
                <a:gd name="T15" fmla="*/ 66 h 79"/>
                <a:gd name="T16" fmla="*/ 34 w 87"/>
                <a:gd name="T17" fmla="*/ 66 h 79"/>
                <a:gd name="T18" fmla="*/ 27 w 87"/>
                <a:gd name="T19" fmla="*/ 63 h 79"/>
                <a:gd name="T20" fmla="*/ 29 w 87"/>
                <a:gd name="T21" fmla="*/ 55 h 79"/>
                <a:gd name="T22" fmla="*/ 50 w 87"/>
                <a:gd name="T23" fmla="*/ 26 h 79"/>
                <a:gd name="T24" fmla="*/ 17 w 87"/>
                <a:gd name="T25" fmla="*/ 26 h 79"/>
                <a:gd name="T26" fmla="*/ 4 w 87"/>
                <a:gd name="T27" fmla="*/ 44 h 79"/>
                <a:gd name="T28" fmla="*/ 0 w 87"/>
                <a:gd name="T29" fmla="*/ 53 h 79"/>
                <a:gd name="T30" fmla="*/ 4 w 87"/>
                <a:gd name="T31" fmla="*/ 61 h 79"/>
                <a:gd name="T32" fmla="*/ 8 w 87"/>
                <a:gd name="T33" fmla="*/ 66 h 79"/>
                <a:gd name="T34" fmla="*/ 19 w 87"/>
                <a:gd name="T35" fmla="*/ 77 h 79"/>
                <a:gd name="T36" fmla="*/ 35 w 87"/>
                <a:gd name="T37" fmla="*/ 79 h 79"/>
                <a:gd name="T38" fmla="*/ 50 w 87"/>
                <a:gd name="T39" fmla="*/ 79 h 79"/>
                <a:gd name="T40" fmla="*/ 78 w 87"/>
                <a:gd name="T41" fmla="*/ 71 h 79"/>
                <a:gd name="T42" fmla="*/ 87 w 87"/>
                <a:gd name="T43" fmla="*/ 46 h 79"/>
                <a:gd name="T44" fmla="*/ 87 w 87"/>
                <a:gd name="T45" fmla="*/ 33 h 79"/>
                <a:gd name="T46" fmla="*/ 78 w 87"/>
                <a:gd name="T47" fmla="*/ 8 h 79"/>
                <a:gd name="T48" fmla="*/ 50 w 87"/>
                <a:gd name="T49" fmla="*/ 0 h 79"/>
                <a:gd name="T50" fmla="*/ 27 w 87"/>
                <a:gd name="T51" fmla="*/ 0 h 79"/>
                <a:gd name="T52" fmla="*/ 20 w 87"/>
                <a:gd name="T53" fmla="*/ 2 h 79"/>
                <a:gd name="T54" fmla="*/ 17 w 87"/>
                <a:gd name="T55" fmla="*/ 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7" h="79">
                  <a:moveTo>
                    <a:pt x="17" y="9"/>
                  </a:moveTo>
                  <a:cubicBezTo>
                    <a:pt x="17" y="13"/>
                    <a:pt x="17" y="13"/>
                    <a:pt x="17" y="13"/>
                  </a:cubicBezTo>
                  <a:cubicBezTo>
                    <a:pt x="50" y="13"/>
                    <a:pt x="50" y="13"/>
                    <a:pt x="50" y="13"/>
                  </a:cubicBezTo>
                  <a:cubicBezTo>
                    <a:pt x="53" y="13"/>
                    <a:pt x="56" y="13"/>
                    <a:pt x="58" y="15"/>
                  </a:cubicBezTo>
                  <a:cubicBezTo>
                    <a:pt x="60" y="17"/>
                    <a:pt x="60" y="21"/>
                    <a:pt x="60" y="23"/>
                  </a:cubicBezTo>
                  <a:cubicBezTo>
                    <a:pt x="60" y="56"/>
                    <a:pt x="60" y="56"/>
                    <a:pt x="60" y="56"/>
                  </a:cubicBezTo>
                  <a:cubicBezTo>
                    <a:pt x="60" y="58"/>
                    <a:pt x="60" y="61"/>
                    <a:pt x="58" y="63"/>
                  </a:cubicBezTo>
                  <a:cubicBezTo>
                    <a:pt x="56" y="66"/>
                    <a:pt x="53" y="66"/>
                    <a:pt x="50" y="66"/>
                  </a:cubicBezTo>
                  <a:cubicBezTo>
                    <a:pt x="34" y="66"/>
                    <a:pt x="34" y="66"/>
                    <a:pt x="34" y="66"/>
                  </a:cubicBezTo>
                  <a:cubicBezTo>
                    <a:pt x="32" y="66"/>
                    <a:pt x="28" y="66"/>
                    <a:pt x="27" y="63"/>
                  </a:cubicBezTo>
                  <a:cubicBezTo>
                    <a:pt x="25" y="60"/>
                    <a:pt x="27" y="57"/>
                    <a:pt x="29" y="55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17" y="26"/>
                    <a:pt x="17" y="26"/>
                    <a:pt x="17" y="26"/>
                  </a:cubicBezTo>
                  <a:cubicBezTo>
                    <a:pt x="4" y="44"/>
                    <a:pt x="4" y="44"/>
                    <a:pt x="4" y="44"/>
                  </a:cubicBezTo>
                  <a:cubicBezTo>
                    <a:pt x="2" y="47"/>
                    <a:pt x="0" y="49"/>
                    <a:pt x="0" y="53"/>
                  </a:cubicBezTo>
                  <a:cubicBezTo>
                    <a:pt x="0" y="56"/>
                    <a:pt x="2" y="58"/>
                    <a:pt x="4" y="61"/>
                  </a:cubicBezTo>
                  <a:cubicBezTo>
                    <a:pt x="8" y="66"/>
                    <a:pt x="8" y="66"/>
                    <a:pt x="8" y="66"/>
                  </a:cubicBezTo>
                  <a:cubicBezTo>
                    <a:pt x="11" y="70"/>
                    <a:pt x="14" y="74"/>
                    <a:pt x="19" y="77"/>
                  </a:cubicBezTo>
                  <a:cubicBezTo>
                    <a:pt x="23" y="79"/>
                    <a:pt x="28" y="79"/>
                    <a:pt x="35" y="79"/>
                  </a:cubicBezTo>
                  <a:cubicBezTo>
                    <a:pt x="50" y="79"/>
                    <a:pt x="50" y="79"/>
                    <a:pt x="50" y="79"/>
                  </a:cubicBezTo>
                  <a:cubicBezTo>
                    <a:pt x="58" y="79"/>
                    <a:pt x="70" y="79"/>
                    <a:pt x="78" y="71"/>
                  </a:cubicBezTo>
                  <a:cubicBezTo>
                    <a:pt x="87" y="62"/>
                    <a:pt x="87" y="50"/>
                    <a:pt x="87" y="46"/>
                  </a:cubicBezTo>
                  <a:cubicBezTo>
                    <a:pt x="87" y="33"/>
                    <a:pt x="87" y="33"/>
                    <a:pt x="87" y="33"/>
                  </a:cubicBezTo>
                  <a:cubicBezTo>
                    <a:pt x="87" y="28"/>
                    <a:pt x="87" y="16"/>
                    <a:pt x="78" y="8"/>
                  </a:cubicBezTo>
                  <a:cubicBezTo>
                    <a:pt x="70" y="0"/>
                    <a:pt x="58" y="0"/>
                    <a:pt x="50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5" y="0"/>
                    <a:pt x="22" y="0"/>
                    <a:pt x="20" y="2"/>
                  </a:cubicBezTo>
                  <a:cubicBezTo>
                    <a:pt x="17" y="4"/>
                    <a:pt x="17" y="7"/>
                    <a:pt x="17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7705377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525" r:id="rId1"/>
    <p:sldLayoutId id="2147484526" r:id="rId2"/>
    <p:sldLayoutId id="2147484527" r:id="rId3"/>
    <p:sldLayoutId id="2147484528" r:id="rId4"/>
    <p:sldLayoutId id="2147484529" r:id="rId5"/>
    <p:sldLayoutId id="2147484530" r:id="rId6"/>
    <p:sldLayoutId id="2147484531" r:id="rId7"/>
    <p:sldLayoutId id="2147484532" r:id="rId8"/>
    <p:sldLayoutId id="2147484533" r:id="rId9"/>
    <p:sldLayoutId id="2147484534" r:id="rId10"/>
    <p:sldLayoutId id="2147484535" r:id="rId11"/>
    <p:sldLayoutId id="2147484536" r:id="rId12"/>
    <p:sldLayoutId id="2147484537" r:id="rId13"/>
    <p:sldLayoutId id="2147484538" r:id="rId14"/>
    <p:sldLayoutId id="2147484544" r:id="rId15"/>
    <p:sldLayoutId id="2147484545" r:id="rId16"/>
    <p:sldLayoutId id="2147484546" r:id="rId17"/>
    <p:sldLayoutId id="2147484547" r:id="rId18"/>
  </p:sldLayoutIdLst>
  <p:hf hdr="0" ftr="0" dt="0"/>
  <p:txStyles>
    <p:titleStyle>
      <a:lvl1pPr algn="l" defTabSz="914355" rtl="0" eaLnBrk="1" latinLnBrk="0" hangingPunct="1">
        <a:lnSpc>
          <a:spcPct val="90000"/>
        </a:lnSpc>
        <a:spcBef>
          <a:spcPct val="0"/>
        </a:spcBef>
        <a:buNone/>
        <a:defRPr sz="1600" b="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1pPr>
    </p:titleStyle>
    <p:bodyStyle>
      <a:lvl1pPr marL="228588" indent="-228588" algn="l" defTabSz="91435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4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7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5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4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0"/>
            <a:ext cx="8686800" cy="5555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0" y="4869656"/>
            <a:ext cx="50405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33964832-CE18-488F-B9C5-395821014EB5}" type="slidenum">
              <a:rPr lang="ru-RU" smtClean="0">
                <a:solidFill>
                  <a:prstClr val="black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  <p:grpSp>
        <p:nvGrpSpPr>
          <p:cNvPr id="3" name="Группа 6"/>
          <p:cNvGrpSpPr/>
          <p:nvPr/>
        </p:nvGrpSpPr>
        <p:grpSpPr>
          <a:xfrm>
            <a:off x="-1620688" y="-28575"/>
            <a:ext cx="1691022" cy="5176838"/>
            <a:chOff x="-1620688" y="-28575"/>
            <a:chExt cx="1691022" cy="5176838"/>
          </a:xfrm>
        </p:grpSpPr>
        <p:sp>
          <p:nvSpPr>
            <p:cNvPr id="8" name="Rectangle 6"/>
            <p:cNvSpPr>
              <a:spLocks noChangeArrowheads="1"/>
            </p:cNvSpPr>
            <p:nvPr userDrawn="1"/>
          </p:nvSpPr>
          <p:spPr bwMode="auto">
            <a:xfrm>
              <a:off x="-374650" y="-17463"/>
              <a:ext cx="366712" cy="366713"/>
            </a:xfrm>
            <a:prstGeom prst="rect">
              <a:avLst/>
            </a:prstGeom>
            <a:solidFill>
              <a:srgbClr val="E21A1A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9" name="Rectangle 7"/>
            <p:cNvSpPr>
              <a:spLocks noChangeArrowheads="1"/>
            </p:cNvSpPr>
            <p:nvPr userDrawn="1"/>
          </p:nvSpPr>
          <p:spPr bwMode="auto">
            <a:xfrm>
              <a:off x="-374650" y="349250"/>
              <a:ext cx="366712" cy="366713"/>
            </a:xfrm>
            <a:prstGeom prst="rect">
              <a:avLst/>
            </a:prstGeom>
            <a:solidFill>
              <a:srgbClr val="394A58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10" name="Rectangle 8"/>
            <p:cNvSpPr>
              <a:spLocks noChangeArrowheads="1"/>
            </p:cNvSpPr>
            <p:nvPr userDrawn="1"/>
          </p:nvSpPr>
          <p:spPr bwMode="auto">
            <a:xfrm>
              <a:off x="-374650" y="715963"/>
              <a:ext cx="366712" cy="366712"/>
            </a:xfrm>
            <a:prstGeom prst="rect">
              <a:avLst/>
            </a:prstGeom>
            <a:solidFill>
              <a:srgbClr val="455D70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11" name="Rectangle 9"/>
            <p:cNvSpPr>
              <a:spLocks noChangeArrowheads="1"/>
            </p:cNvSpPr>
            <p:nvPr userDrawn="1"/>
          </p:nvSpPr>
          <p:spPr bwMode="auto">
            <a:xfrm>
              <a:off x="-374650" y="1081088"/>
              <a:ext cx="366712" cy="366712"/>
            </a:xfrm>
            <a:prstGeom prst="rect">
              <a:avLst/>
            </a:prstGeom>
            <a:solidFill>
              <a:srgbClr val="68798B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12" name="Rectangle 13"/>
            <p:cNvSpPr>
              <a:spLocks noChangeArrowheads="1"/>
            </p:cNvSpPr>
            <p:nvPr userDrawn="1"/>
          </p:nvSpPr>
          <p:spPr bwMode="auto">
            <a:xfrm>
              <a:off x="-374650" y="1447800"/>
              <a:ext cx="366712" cy="366713"/>
            </a:xfrm>
            <a:prstGeom prst="rect">
              <a:avLst/>
            </a:prstGeom>
            <a:solidFill>
              <a:srgbClr val="909CAA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13" name="Rectangle 10"/>
            <p:cNvSpPr>
              <a:spLocks noChangeArrowheads="1"/>
            </p:cNvSpPr>
            <p:nvPr userDrawn="1"/>
          </p:nvSpPr>
          <p:spPr bwMode="auto">
            <a:xfrm>
              <a:off x="-774700" y="-22225"/>
              <a:ext cx="366712" cy="377825"/>
            </a:xfrm>
            <a:prstGeom prst="rect">
              <a:avLst/>
            </a:prstGeom>
            <a:solidFill>
              <a:srgbClr val="CECCA0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14" name="Rectangle 12"/>
            <p:cNvSpPr>
              <a:spLocks noChangeArrowheads="1"/>
            </p:cNvSpPr>
            <p:nvPr userDrawn="1"/>
          </p:nvSpPr>
          <p:spPr bwMode="auto">
            <a:xfrm>
              <a:off x="-781050" y="3303588"/>
              <a:ext cx="366712" cy="366712"/>
            </a:xfrm>
            <a:prstGeom prst="rect">
              <a:avLst/>
            </a:prstGeom>
            <a:solidFill>
              <a:srgbClr val="78D64B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18669F"/>
                </a:solidFill>
                <a:latin typeface="Trebuchet MS"/>
                <a:cs typeface="+mn-cs"/>
              </a:endParaRPr>
            </a:p>
          </p:txBody>
        </p:sp>
        <p:sp>
          <p:nvSpPr>
            <p:cNvPr id="15" name="Rectangle 12"/>
            <p:cNvSpPr>
              <a:spLocks noChangeArrowheads="1"/>
            </p:cNvSpPr>
            <p:nvPr userDrawn="1"/>
          </p:nvSpPr>
          <p:spPr bwMode="auto">
            <a:xfrm>
              <a:off x="-1601788" y="-22225"/>
              <a:ext cx="366713" cy="366713"/>
            </a:xfrm>
            <a:prstGeom prst="rect">
              <a:avLst/>
            </a:prstGeom>
            <a:solidFill>
              <a:srgbClr val="FF6900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18669F"/>
                </a:solidFill>
                <a:latin typeface="Trebuchet MS"/>
                <a:cs typeface="+mn-cs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 userDrawn="1"/>
          </p:nvSpPr>
          <p:spPr bwMode="auto">
            <a:xfrm>
              <a:off x="-374650" y="1828800"/>
              <a:ext cx="366712" cy="366713"/>
            </a:xfrm>
            <a:prstGeom prst="rect">
              <a:avLst/>
            </a:prstGeom>
            <a:solidFill>
              <a:srgbClr val="BFC5CE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17" name="Rectangle 7"/>
            <p:cNvSpPr>
              <a:spLocks noChangeArrowheads="1"/>
            </p:cNvSpPr>
            <p:nvPr userDrawn="1"/>
          </p:nvSpPr>
          <p:spPr bwMode="auto">
            <a:xfrm>
              <a:off x="-374650" y="2211388"/>
              <a:ext cx="366712" cy="366712"/>
            </a:xfrm>
            <a:prstGeom prst="rect">
              <a:avLst/>
            </a:prstGeom>
            <a:solidFill>
              <a:srgbClr val="606060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18" name="Rectangle 7"/>
            <p:cNvSpPr>
              <a:spLocks noChangeArrowheads="1"/>
            </p:cNvSpPr>
            <p:nvPr userDrawn="1"/>
          </p:nvSpPr>
          <p:spPr bwMode="auto">
            <a:xfrm>
              <a:off x="-374650" y="2571750"/>
              <a:ext cx="366712" cy="366713"/>
            </a:xfrm>
            <a:prstGeom prst="rect">
              <a:avLst/>
            </a:prstGeom>
            <a:solidFill>
              <a:srgbClr val="828282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-374650" y="2943225"/>
              <a:ext cx="366712" cy="366713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20" name="Rectangle 7"/>
            <p:cNvSpPr>
              <a:spLocks noChangeArrowheads="1"/>
            </p:cNvSpPr>
            <p:nvPr userDrawn="1"/>
          </p:nvSpPr>
          <p:spPr bwMode="auto">
            <a:xfrm>
              <a:off x="-374650" y="3314700"/>
              <a:ext cx="366712" cy="366713"/>
            </a:xfrm>
            <a:prstGeom prst="rect">
              <a:avLst/>
            </a:prstGeom>
            <a:solidFill>
              <a:srgbClr val="D3D3D3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21" name="Rectangle 10"/>
            <p:cNvSpPr>
              <a:spLocks noChangeArrowheads="1"/>
            </p:cNvSpPr>
            <p:nvPr userDrawn="1"/>
          </p:nvSpPr>
          <p:spPr bwMode="auto">
            <a:xfrm>
              <a:off x="-774700" y="355600"/>
              <a:ext cx="366712" cy="366713"/>
            </a:xfrm>
            <a:prstGeom prst="rect">
              <a:avLst/>
            </a:prstGeom>
            <a:solidFill>
              <a:srgbClr val="85865F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22" name="Rectangle 10"/>
            <p:cNvSpPr>
              <a:spLocks noChangeArrowheads="1"/>
            </p:cNvSpPr>
            <p:nvPr userDrawn="1"/>
          </p:nvSpPr>
          <p:spPr bwMode="auto">
            <a:xfrm>
              <a:off x="-774700" y="715963"/>
              <a:ext cx="366712" cy="366712"/>
            </a:xfrm>
            <a:prstGeom prst="rect">
              <a:avLst/>
            </a:prstGeom>
            <a:solidFill>
              <a:srgbClr val="DDDCB4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23" name="Rectangle 10"/>
            <p:cNvSpPr>
              <a:spLocks noChangeArrowheads="1"/>
            </p:cNvSpPr>
            <p:nvPr userDrawn="1"/>
          </p:nvSpPr>
          <p:spPr bwMode="auto">
            <a:xfrm>
              <a:off x="-774700" y="1082675"/>
              <a:ext cx="366712" cy="366713"/>
            </a:xfrm>
            <a:prstGeom prst="rect">
              <a:avLst/>
            </a:prstGeom>
            <a:solidFill>
              <a:srgbClr val="EBEAD4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24" name="Rectangle 10"/>
            <p:cNvSpPr>
              <a:spLocks noChangeArrowheads="1"/>
            </p:cNvSpPr>
            <p:nvPr userDrawn="1"/>
          </p:nvSpPr>
          <p:spPr bwMode="auto">
            <a:xfrm>
              <a:off x="-774700" y="1447800"/>
              <a:ext cx="366712" cy="388938"/>
            </a:xfrm>
            <a:prstGeom prst="rect">
              <a:avLst/>
            </a:prstGeom>
            <a:solidFill>
              <a:srgbClr val="A3A86B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-774700" y="1836738"/>
              <a:ext cx="366712" cy="366712"/>
            </a:xfrm>
            <a:prstGeom prst="rect">
              <a:avLst/>
            </a:prstGeom>
            <a:solidFill>
              <a:srgbClr val="626B45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26" name="Rectangle 10"/>
            <p:cNvSpPr>
              <a:spLocks noChangeArrowheads="1"/>
            </p:cNvSpPr>
            <p:nvPr userDrawn="1"/>
          </p:nvSpPr>
          <p:spPr bwMode="auto">
            <a:xfrm>
              <a:off x="-774700" y="2203450"/>
              <a:ext cx="366712" cy="366713"/>
            </a:xfrm>
            <a:prstGeom prst="rect">
              <a:avLst/>
            </a:prstGeom>
            <a:solidFill>
              <a:srgbClr val="828B5C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27" name="Rectangle 10"/>
            <p:cNvSpPr>
              <a:spLocks noChangeArrowheads="1"/>
            </p:cNvSpPr>
            <p:nvPr userDrawn="1"/>
          </p:nvSpPr>
          <p:spPr bwMode="auto">
            <a:xfrm>
              <a:off x="-774700" y="2570163"/>
              <a:ext cx="366712" cy="366712"/>
            </a:xfrm>
            <a:prstGeom prst="rect">
              <a:avLst/>
            </a:prstGeom>
            <a:solidFill>
              <a:srgbClr val="B2B989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-774700" y="2936875"/>
              <a:ext cx="366712" cy="366713"/>
            </a:xfrm>
            <a:prstGeom prst="rect">
              <a:avLst/>
            </a:prstGeom>
            <a:solidFill>
              <a:srgbClr val="D3D7BD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29" name="Rectangle 10"/>
            <p:cNvSpPr>
              <a:spLocks noChangeArrowheads="1"/>
            </p:cNvSpPr>
            <p:nvPr userDrawn="1"/>
          </p:nvSpPr>
          <p:spPr bwMode="auto">
            <a:xfrm>
              <a:off x="-1189038" y="-22225"/>
              <a:ext cx="366713" cy="377825"/>
            </a:xfrm>
            <a:prstGeom prst="rect">
              <a:avLst/>
            </a:prstGeom>
            <a:solidFill>
              <a:srgbClr val="0066A1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30" name="Rectangle 10"/>
            <p:cNvSpPr>
              <a:spLocks noChangeArrowheads="1"/>
            </p:cNvSpPr>
            <p:nvPr userDrawn="1"/>
          </p:nvSpPr>
          <p:spPr bwMode="auto">
            <a:xfrm>
              <a:off x="-1189038" y="355600"/>
              <a:ext cx="366713" cy="366713"/>
            </a:xfrm>
            <a:prstGeom prst="rect">
              <a:avLst/>
            </a:prstGeom>
            <a:solidFill>
              <a:srgbClr val="003356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31" name="Rectangle 10"/>
            <p:cNvSpPr>
              <a:spLocks noChangeArrowheads="1"/>
            </p:cNvSpPr>
            <p:nvPr userDrawn="1"/>
          </p:nvSpPr>
          <p:spPr bwMode="auto">
            <a:xfrm>
              <a:off x="-1189038" y="715963"/>
              <a:ext cx="366713" cy="366712"/>
            </a:xfrm>
            <a:prstGeom prst="rect">
              <a:avLst/>
            </a:prstGeom>
            <a:solidFill>
              <a:srgbClr val="00507C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32" name="Rectangle 10"/>
            <p:cNvSpPr>
              <a:spLocks noChangeArrowheads="1"/>
            </p:cNvSpPr>
            <p:nvPr userDrawn="1"/>
          </p:nvSpPr>
          <p:spPr bwMode="auto">
            <a:xfrm>
              <a:off x="-1189038" y="1082675"/>
              <a:ext cx="366713" cy="366713"/>
            </a:xfrm>
            <a:prstGeom prst="rect">
              <a:avLst/>
            </a:prstGeom>
            <a:solidFill>
              <a:srgbClr val="007FB1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-1189038" y="1447800"/>
              <a:ext cx="366713" cy="388938"/>
            </a:xfrm>
            <a:prstGeom prst="rect">
              <a:avLst/>
            </a:prstGeom>
            <a:solidFill>
              <a:srgbClr val="8AB0D2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34" name="Rectangle 10"/>
            <p:cNvSpPr>
              <a:spLocks noChangeArrowheads="1"/>
            </p:cNvSpPr>
            <p:nvPr userDrawn="1"/>
          </p:nvSpPr>
          <p:spPr bwMode="auto">
            <a:xfrm>
              <a:off x="-1189038" y="1825625"/>
              <a:ext cx="366713" cy="373063"/>
            </a:xfrm>
            <a:prstGeom prst="rect">
              <a:avLst/>
            </a:prstGeom>
            <a:solidFill>
              <a:srgbClr val="00A3E0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35" name="Rectangle 10"/>
            <p:cNvSpPr>
              <a:spLocks noChangeArrowheads="1"/>
            </p:cNvSpPr>
            <p:nvPr userDrawn="1"/>
          </p:nvSpPr>
          <p:spPr bwMode="auto">
            <a:xfrm>
              <a:off x="-1189038" y="2198688"/>
              <a:ext cx="366713" cy="373062"/>
            </a:xfrm>
            <a:prstGeom prst="rect">
              <a:avLst/>
            </a:prstGeom>
            <a:solidFill>
              <a:srgbClr val="206689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36" name="Rectangle 10"/>
            <p:cNvSpPr>
              <a:spLocks noChangeArrowheads="1"/>
            </p:cNvSpPr>
            <p:nvPr userDrawn="1"/>
          </p:nvSpPr>
          <p:spPr bwMode="auto">
            <a:xfrm>
              <a:off x="-1189038" y="2570163"/>
              <a:ext cx="366713" cy="373062"/>
            </a:xfrm>
            <a:prstGeom prst="rect">
              <a:avLst/>
            </a:prstGeom>
            <a:solidFill>
              <a:srgbClr val="2F87B6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37" name="Rectangle 10"/>
            <p:cNvSpPr>
              <a:spLocks noChangeArrowheads="1"/>
            </p:cNvSpPr>
            <p:nvPr userDrawn="1"/>
          </p:nvSpPr>
          <p:spPr bwMode="auto">
            <a:xfrm>
              <a:off x="-1189038" y="2941638"/>
              <a:ext cx="366713" cy="373062"/>
            </a:xfrm>
            <a:prstGeom prst="rect">
              <a:avLst/>
            </a:prstGeom>
            <a:solidFill>
              <a:srgbClr val="61B9E9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38" name="Rectangle 10"/>
            <p:cNvSpPr>
              <a:spLocks noChangeArrowheads="1"/>
            </p:cNvSpPr>
            <p:nvPr userDrawn="1"/>
          </p:nvSpPr>
          <p:spPr bwMode="auto">
            <a:xfrm>
              <a:off x="-1189038" y="3303588"/>
              <a:ext cx="366713" cy="373062"/>
            </a:xfrm>
            <a:prstGeom prst="rect">
              <a:avLst/>
            </a:prstGeom>
            <a:solidFill>
              <a:srgbClr val="B0DCF4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39" name="Rectangle 12"/>
            <p:cNvSpPr>
              <a:spLocks noChangeArrowheads="1"/>
            </p:cNvSpPr>
            <p:nvPr userDrawn="1"/>
          </p:nvSpPr>
          <p:spPr bwMode="auto">
            <a:xfrm>
              <a:off x="-781050" y="3676650"/>
              <a:ext cx="366712" cy="366713"/>
            </a:xfrm>
            <a:prstGeom prst="rect">
              <a:avLst/>
            </a:prstGeom>
            <a:solidFill>
              <a:srgbClr val="658446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18669F"/>
                </a:solidFill>
                <a:latin typeface="Trebuchet MS"/>
                <a:cs typeface="+mn-cs"/>
              </a:endParaRPr>
            </a:p>
          </p:txBody>
        </p:sp>
        <p:sp>
          <p:nvSpPr>
            <p:cNvPr id="40" name="Rectangle 12"/>
            <p:cNvSpPr>
              <a:spLocks noChangeArrowheads="1"/>
            </p:cNvSpPr>
            <p:nvPr userDrawn="1"/>
          </p:nvSpPr>
          <p:spPr bwMode="auto">
            <a:xfrm>
              <a:off x="-781050" y="4043363"/>
              <a:ext cx="366712" cy="366712"/>
            </a:xfrm>
            <a:prstGeom prst="rect">
              <a:avLst/>
            </a:prstGeom>
            <a:solidFill>
              <a:srgbClr val="7FA357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18669F"/>
                </a:solidFill>
                <a:latin typeface="Trebuchet MS"/>
                <a:cs typeface="+mn-cs"/>
              </a:endParaRPr>
            </a:p>
          </p:txBody>
        </p:sp>
        <p:sp>
          <p:nvSpPr>
            <p:cNvPr id="41" name="Rectangle 12"/>
            <p:cNvSpPr>
              <a:spLocks noChangeArrowheads="1"/>
            </p:cNvSpPr>
            <p:nvPr userDrawn="1"/>
          </p:nvSpPr>
          <p:spPr bwMode="auto">
            <a:xfrm>
              <a:off x="-781050" y="4410075"/>
              <a:ext cx="366712" cy="366713"/>
            </a:xfrm>
            <a:prstGeom prst="rect">
              <a:avLst/>
            </a:prstGeom>
            <a:solidFill>
              <a:srgbClr val="AED086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18669F"/>
                </a:solidFill>
                <a:latin typeface="Trebuchet MS"/>
                <a:cs typeface="+mn-cs"/>
              </a:endParaRPr>
            </a:p>
          </p:txBody>
        </p:sp>
        <p:sp>
          <p:nvSpPr>
            <p:cNvPr id="42" name="Rectangle 12"/>
            <p:cNvSpPr>
              <a:spLocks noChangeArrowheads="1"/>
            </p:cNvSpPr>
            <p:nvPr userDrawn="1"/>
          </p:nvSpPr>
          <p:spPr bwMode="auto">
            <a:xfrm>
              <a:off x="-781050" y="4781550"/>
              <a:ext cx="366712" cy="366713"/>
            </a:xfrm>
            <a:prstGeom prst="rect">
              <a:avLst/>
            </a:prstGeom>
            <a:solidFill>
              <a:srgbClr val="D6E8C3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18669F"/>
                </a:solidFill>
                <a:latin typeface="Trebuchet MS"/>
                <a:cs typeface="+mn-cs"/>
              </a:endParaRPr>
            </a:p>
          </p:txBody>
        </p:sp>
        <p:sp>
          <p:nvSpPr>
            <p:cNvPr id="43" name="Rectangle 12"/>
            <p:cNvSpPr>
              <a:spLocks noChangeArrowheads="1"/>
            </p:cNvSpPr>
            <p:nvPr userDrawn="1"/>
          </p:nvSpPr>
          <p:spPr bwMode="auto">
            <a:xfrm>
              <a:off x="-1601788" y="334963"/>
              <a:ext cx="366713" cy="366712"/>
            </a:xfrm>
            <a:prstGeom prst="rect">
              <a:avLst/>
            </a:prstGeom>
            <a:solidFill>
              <a:srgbClr val="805030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18669F"/>
                </a:solidFill>
                <a:latin typeface="Trebuchet MS"/>
                <a:cs typeface="+mn-cs"/>
              </a:endParaRPr>
            </a:p>
          </p:txBody>
        </p:sp>
        <p:sp>
          <p:nvSpPr>
            <p:cNvPr id="44" name="Rectangle 12"/>
            <p:cNvSpPr>
              <a:spLocks noChangeArrowheads="1"/>
            </p:cNvSpPr>
            <p:nvPr userDrawn="1"/>
          </p:nvSpPr>
          <p:spPr bwMode="auto">
            <a:xfrm>
              <a:off x="-1601788" y="701675"/>
              <a:ext cx="366713" cy="366713"/>
            </a:xfrm>
            <a:prstGeom prst="rect">
              <a:avLst/>
            </a:prstGeom>
            <a:solidFill>
              <a:srgbClr val="AC6B2F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18669F"/>
                </a:solidFill>
                <a:latin typeface="Trebuchet MS"/>
                <a:cs typeface="+mn-cs"/>
              </a:endParaRPr>
            </a:p>
          </p:txBody>
        </p:sp>
        <p:sp>
          <p:nvSpPr>
            <p:cNvPr id="45" name="Rectangle 12"/>
            <p:cNvSpPr>
              <a:spLocks noChangeArrowheads="1"/>
            </p:cNvSpPr>
            <p:nvPr userDrawn="1"/>
          </p:nvSpPr>
          <p:spPr bwMode="auto">
            <a:xfrm>
              <a:off x="-1601788" y="1068388"/>
              <a:ext cx="366713" cy="366712"/>
            </a:xfrm>
            <a:prstGeom prst="rect">
              <a:avLst/>
            </a:prstGeom>
            <a:solidFill>
              <a:srgbClr val="E4A063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18669F"/>
                </a:solidFill>
                <a:latin typeface="Trebuchet MS"/>
                <a:cs typeface="+mn-cs"/>
              </a:endParaRPr>
            </a:p>
          </p:txBody>
        </p:sp>
        <p:sp>
          <p:nvSpPr>
            <p:cNvPr id="46" name="Rectangle 12"/>
            <p:cNvSpPr>
              <a:spLocks noChangeArrowheads="1"/>
            </p:cNvSpPr>
            <p:nvPr userDrawn="1"/>
          </p:nvSpPr>
          <p:spPr bwMode="auto">
            <a:xfrm>
              <a:off x="-1601788" y="1435100"/>
              <a:ext cx="366713" cy="366713"/>
            </a:xfrm>
            <a:prstGeom prst="rect">
              <a:avLst/>
            </a:prstGeom>
            <a:solidFill>
              <a:srgbClr val="F1D0B1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18669F"/>
                </a:solidFill>
                <a:latin typeface="Trebuchet MS"/>
                <a:cs typeface="+mn-cs"/>
              </a:endParaRPr>
            </a:p>
          </p:txBody>
        </p:sp>
        <p:sp>
          <p:nvSpPr>
            <p:cNvPr id="47" name="TextBox 46"/>
            <p:cNvSpPr txBox="1"/>
            <p:nvPr userDrawn="1"/>
          </p:nvSpPr>
          <p:spPr>
            <a:xfrm>
              <a:off x="-393018" y="3311012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211-211-211</a:t>
              </a:r>
            </a:p>
          </p:txBody>
        </p:sp>
        <p:sp>
          <p:nvSpPr>
            <p:cNvPr id="48" name="TextBox 47"/>
            <p:cNvSpPr txBox="1"/>
            <p:nvPr userDrawn="1"/>
          </p:nvSpPr>
          <p:spPr>
            <a:xfrm>
              <a:off x="-393018" y="2940994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169-169-169</a:t>
              </a:r>
            </a:p>
          </p:txBody>
        </p:sp>
        <p:sp>
          <p:nvSpPr>
            <p:cNvPr id="49" name="TextBox 48"/>
            <p:cNvSpPr txBox="1"/>
            <p:nvPr userDrawn="1"/>
          </p:nvSpPr>
          <p:spPr>
            <a:xfrm>
              <a:off x="-1620688" y="-28575"/>
              <a:ext cx="46335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255-105-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0</a:t>
              </a:r>
            </a:p>
          </p:txBody>
        </p:sp>
        <p:sp>
          <p:nvSpPr>
            <p:cNvPr id="50" name="TextBox 49"/>
            <p:cNvSpPr txBox="1"/>
            <p:nvPr userDrawn="1"/>
          </p:nvSpPr>
          <p:spPr>
            <a:xfrm>
              <a:off x="-1193360" y="-22212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white"/>
                  </a:solidFill>
                  <a:latin typeface="Trebuchet MS"/>
                  <a:cs typeface="+mn-cs"/>
                </a:rPr>
                <a:t>0-102-161</a:t>
              </a:r>
            </a:p>
          </p:txBody>
        </p:sp>
        <p:sp>
          <p:nvSpPr>
            <p:cNvPr id="51" name="TextBox 50"/>
            <p:cNvSpPr txBox="1"/>
            <p:nvPr userDrawn="1"/>
          </p:nvSpPr>
          <p:spPr>
            <a:xfrm>
              <a:off x="-393018" y="-19182"/>
              <a:ext cx="46335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white"/>
                  </a:solidFill>
                  <a:latin typeface="Trebuchet MS"/>
                  <a:cs typeface="+mn-cs"/>
                </a:rPr>
                <a:t>226-26-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white"/>
                  </a:solidFill>
                  <a:latin typeface="Trebuchet MS"/>
                  <a:cs typeface="+mn-cs"/>
                </a:rPr>
                <a:t>26</a:t>
              </a:r>
            </a:p>
          </p:txBody>
        </p:sp>
        <p:sp>
          <p:nvSpPr>
            <p:cNvPr id="52" name="TextBox 51"/>
            <p:cNvSpPr txBox="1"/>
            <p:nvPr userDrawn="1"/>
          </p:nvSpPr>
          <p:spPr>
            <a:xfrm>
              <a:off x="-1620688" y="343663"/>
              <a:ext cx="46335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white"/>
                  </a:solidFill>
                  <a:latin typeface="Trebuchet MS"/>
                  <a:cs typeface="+mn-cs"/>
                </a:rPr>
                <a:t>128-80-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white"/>
                  </a:solidFill>
                  <a:latin typeface="Trebuchet MS"/>
                  <a:cs typeface="+mn-cs"/>
                </a:rPr>
                <a:t>48</a:t>
              </a:r>
            </a:p>
          </p:txBody>
        </p:sp>
        <p:sp>
          <p:nvSpPr>
            <p:cNvPr id="53" name="TextBox 52"/>
            <p:cNvSpPr txBox="1"/>
            <p:nvPr userDrawn="1"/>
          </p:nvSpPr>
          <p:spPr>
            <a:xfrm>
              <a:off x="-791292" y="348708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133-134-95</a:t>
              </a:r>
            </a:p>
          </p:txBody>
        </p:sp>
        <p:sp>
          <p:nvSpPr>
            <p:cNvPr id="54" name="TextBox 53"/>
            <p:cNvSpPr txBox="1"/>
            <p:nvPr userDrawn="1"/>
          </p:nvSpPr>
          <p:spPr>
            <a:xfrm>
              <a:off x="-791292" y="-19182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206-204-160</a:t>
              </a:r>
            </a:p>
          </p:txBody>
        </p:sp>
        <p:sp>
          <p:nvSpPr>
            <p:cNvPr id="55" name="TextBox 54"/>
            <p:cNvSpPr txBox="1"/>
            <p:nvPr userDrawn="1"/>
          </p:nvSpPr>
          <p:spPr>
            <a:xfrm>
              <a:off x="-1620688" y="715901"/>
              <a:ext cx="46335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172-107-47</a:t>
              </a:r>
            </a:p>
          </p:txBody>
        </p:sp>
        <p:sp>
          <p:nvSpPr>
            <p:cNvPr id="56" name="TextBox 55"/>
            <p:cNvSpPr txBox="1"/>
            <p:nvPr userDrawn="1"/>
          </p:nvSpPr>
          <p:spPr>
            <a:xfrm>
              <a:off x="-791292" y="1084488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235-234-212</a:t>
              </a:r>
            </a:p>
          </p:txBody>
        </p:sp>
        <p:sp>
          <p:nvSpPr>
            <p:cNvPr id="57" name="TextBox 56"/>
            <p:cNvSpPr txBox="1"/>
            <p:nvPr userDrawn="1"/>
          </p:nvSpPr>
          <p:spPr>
            <a:xfrm>
              <a:off x="-1620688" y="1088139"/>
              <a:ext cx="46335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228-160-99</a:t>
              </a:r>
            </a:p>
          </p:txBody>
        </p:sp>
        <p:sp>
          <p:nvSpPr>
            <p:cNvPr id="58" name="TextBox 57"/>
            <p:cNvSpPr txBox="1"/>
            <p:nvPr userDrawn="1"/>
          </p:nvSpPr>
          <p:spPr>
            <a:xfrm>
              <a:off x="-791292" y="716598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221-220-180</a:t>
              </a:r>
            </a:p>
          </p:txBody>
        </p:sp>
        <p:sp>
          <p:nvSpPr>
            <p:cNvPr id="59" name="TextBox 58"/>
            <p:cNvSpPr txBox="1"/>
            <p:nvPr userDrawn="1"/>
          </p:nvSpPr>
          <p:spPr>
            <a:xfrm>
              <a:off x="-791292" y="1452378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163-168-107</a:t>
              </a:r>
            </a:p>
          </p:txBody>
        </p:sp>
        <p:sp>
          <p:nvSpPr>
            <p:cNvPr id="60" name="TextBox 59"/>
            <p:cNvSpPr txBox="1"/>
            <p:nvPr userDrawn="1"/>
          </p:nvSpPr>
          <p:spPr>
            <a:xfrm>
              <a:off x="-1620688" y="1460376"/>
              <a:ext cx="46335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241-208-177</a:t>
              </a:r>
            </a:p>
          </p:txBody>
        </p:sp>
        <p:sp>
          <p:nvSpPr>
            <p:cNvPr id="61" name="TextBox 60"/>
            <p:cNvSpPr txBox="1"/>
            <p:nvPr userDrawn="1"/>
          </p:nvSpPr>
          <p:spPr>
            <a:xfrm>
              <a:off x="-393018" y="1460906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144-156-170</a:t>
              </a:r>
            </a:p>
          </p:txBody>
        </p:sp>
        <p:sp>
          <p:nvSpPr>
            <p:cNvPr id="62" name="TextBox 61"/>
            <p:cNvSpPr txBox="1"/>
            <p:nvPr userDrawn="1"/>
          </p:nvSpPr>
          <p:spPr>
            <a:xfrm>
              <a:off x="-392010" y="339502"/>
              <a:ext cx="36004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white"/>
                  </a:solidFill>
                  <a:latin typeface="Trebuchet MS"/>
                  <a:cs typeface="+mn-cs"/>
                </a:rPr>
                <a:t>57-74-88</a:t>
              </a:r>
            </a:p>
          </p:txBody>
        </p:sp>
        <p:sp>
          <p:nvSpPr>
            <p:cNvPr id="63" name="TextBox 62"/>
            <p:cNvSpPr txBox="1"/>
            <p:nvPr userDrawn="1"/>
          </p:nvSpPr>
          <p:spPr>
            <a:xfrm>
              <a:off x="-393018" y="720862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white"/>
                  </a:solidFill>
                  <a:latin typeface="Trebuchet MS"/>
                  <a:cs typeface="+mn-cs"/>
                </a:rPr>
                <a:t>69-93-112</a:t>
              </a:r>
            </a:p>
          </p:txBody>
        </p:sp>
        <p:sp>
          <p:nvSpPr>
            <p:cNvPr id="64" name="TextBox 63"/>
            <p:cNvSpPr txBox="1"/>
            <p:nvPr userDrawn="1"/>
          </p:nvSpPr>
          <p:spPr>
            <a:xfrm>
              <a:off x="-393018" y="1090884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white"/>
                  </a:solidFill>
                  <a:latin typeface="Trebuchet MS"/>
                  <a:cs typeface="+mn-cs"/>
                </a:rPr>
                <a:t>104-121-139</a:t>
              </a:r>
            </a:p>
          </p:txBody>
        </p:sp>
        <p:sp>
          <p:nvSpPr>
            <p:cNvPr id="65" name="TextBox 64"/>
            <p:cNvSpPr txBox="1"/>
            <p:nvPr userDrawn="1"/>
          </p:nvSpPr>
          <p:spPr>
            <a:xfrm>
              <a:off x="-393018" y="1830928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191-197-206</a:t>
              </a:r>
            </a:p>
          </p:txBody>
        </p:sp>
        <p:sp>
          <p:nvSpPr>
            <p:cNvPr id="66" name="TextBox 65"/>
            <p:cNvSpPr txBox="1"/>
            <p:nvPr userDrawn="1"/>
          </p:nvSpPr>
          <p:spPr>
            <a:xfrm>
              <a:off x="-393018" y="2200950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white"/>
                  </a:solidFill>
                  <a:latin typeface="Trebuchet MS"/>
                  <a:cs typeface="+mn-cs"/>
                </a:rPr>
                <a:t>96-96-96</a:t>
              </a:r>
            </a:p>
          </p:txBody>
        </p:sp>
        <p:sp>
          <p:nvSpPr>
            <p:cNvPr id="67" name="TextBox 66"/>
            <p:cNvSpPr txBox="1"/>
            <p:nvPr userDrawn="1"/>
          </p:nvSpPr>
          <p:spPr>
            <a:xfrm>
              <a:off x="-393018" y="2570972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white"/>
                  </a:solidFill>
                  <a:latin typeface="Trebuchet MS"/>
                  <a:cs typeface="+mn-cs"/>
                </a:rPr>
                <a:t>130-130-130</a:t>
              </a:r>
            </a:p>
          </p:txBody>
        </p:sp>
        <p:sp>
          <p:nvSpPr>
            <p:cNvPr id="68" name="TextBox 67"/>
            <p:cNvSpPr txBox="1"/>
            <p:nvPr userDrawn="1"/>
          </p:nvSpPr>
          <p:spPr>
            <a:xfrm>
              <a:off x="-791292" y="2188158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130-139-92</a:t>
              </a:r>
            </a:p>
          </p:txBody>
        </p:sp>
        <p:sp>
          <p:nvSpPr>
            <p:cNvPr id="69" name="TextBox 68"/>
            <p:cNvSpPr txBox="1"/>
            <p:nvPr userDrawn="1"/>
          </p:nvSpPr>
          <p:spPr>
            <a:xfrm>
              <a:off x="-791292" y="1820268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white"/>
                  </a:solidFill>
                  <a:latin typeface="Trebuchet MS"/>
                  <a:cs typeface="+mn-cs"/>
                </a:rPr>
                <a:t>98-107-69</a:t>
              </a:r>
            </a:p>
          </p:txBody>
        </p:sp>
        <p:sp>
          <p:nvSpPr>
            <p:cNvPr id="70" name="TextBox 69"/>
            <p:cNvSpPr txBox="1"/>
            <p:nvPr userDrawn="1"/>
          </p:nvSpPr>
          <p:spPr>
            <a:xfrm>
              <a:off x="-791292" y="2923938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211-215-189</a:t>
              </a:r>
            </a:p>
          </p:txBody>
        </p:sp>
        <p:sp>
          <p:nvSpPr>
            <p:cNvPr id="71" name="TextBox 70"/>
            <p:cNvSpPr txBox="1"/>
            <p:nvPr userDrawn="1"/>
          </p:nvSpPr>
          <p:spPr>
            <a:xfrm>
              <a:off x="-791292" y="2556048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178-185-137</a:t>
              </a:r>
            </a:p>
          </p:txBody>
        </p:sp>
        <p:sp>
          <p:nvSpPr>
            <p:cNvPr id="72" name="TextBox 71"/>
            <p:cNvSpPr txBox="1"/>
            <p:nvPr userDrawn="1"/>
          </p:nvSpPr>
          <p:spPr>
            <a:xfrm>
              <a:off x="-791292" y="3291830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120-214-75</a:t>
              </a:r>
            </a:p>
          </p:txBody>
        </p:sp>
        <p:sp>
          <p:nvSpPr>
            <p:cNvPr id="73" name="TextBox 72"/>
            <p:cNvSpPr txBox="1"/>
            <p:nvPr userDrawn="1"/>
          </p:nvSpPr>
          <p:spPr>
            <a:xfrm>
              <a:off x="-1188640" y="699542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white"/>
                  </a:solidFill>
                  <a:latin typeface="Trebuchet MS"/>
                  <a:cs typeface="+mn-cs"/>
                </a:rPr>
                <a:t>0-80-124</a:t>
              </a:r>
            </a:p>
          </p:txBody>
        </p:sp>
        <p:sp>
          <p:nvSpPr>
            <p:cNvPr id="74" name="TextBox 73"/>
            <p:cNvSpPr txBox="1"/>
            <p:nvPr userDrawn="1"/>
          </p:nvSpPr>
          <p:spPr>
            <a:xfrm>
              <a:off x="-1188640" y="339502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white"/>
                  </a:solidFill>
                  <a:latin typeface="Trebuchet MS"/>
                  <a:cs typeface="+mn-cs"/>
                </a:rPr>
                <a:t>0-51-86</a:t>
              </a:r>
            </a:p>
          </p:txBody>
        </p:sp>
        <p:sp>
          <p:nvSpPr>
            <p:cNvPr id="75" name="TextBox 74"/>
            <p:cNvSpPr txBox="1"/>
            <p:nvPr userDrawn="1"/>
          </p:nvSpPr>
          <p:spPr>
            <a:xfrm>
              <a:off x="-1195034" y="1440064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138-176-210</a:t>
              </a:r>
            </a:p>
          </p:txBody>
        </p:sp>
        <p:sp>
          <p:nvSpPr>
            <p:cNvPr id="76" name="TextBox 75"/>
            <p:cNvSpPr txBox="1"/>
            <p:nvPr userDrawn="1"/>
          </p:nvSpPr>
          <p:spPr>
            <a:xfrm>
              <a:off x="-1178168" y="1059582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0-127-177</a:t>
              </a:r>
            </a:p>
          </p:txBody>
        </p:sp>
        <p:sp>
          <p:nvSpPr>
            <p:cNvPr id="77" name="TextBox 76"/>
            <p:cNvSpPr txBox="1"/>
            <p:nvPr userDrawn="1"/>
          </p:nvSpPr>
          <p:spPr>
            <a:xfrm>
              <a:off x="-1201428" y="1826938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0-163-224</a:t>
              </a:r>
            </a:p>
          </p:txBody>
        </p:sp>
        <p:sp>
          <p:nvSpPr>
            <p:cNvPr id="78" name="TextBox 77"/>
            <p:cNvSpPr txBox="1"/>
            <p:nvPr userDrawn="1"/>
          </p:nvSpPr>
          <p:spPr>
            <a:xfrm>
              <a:off x="-788562" y="3657390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101-132-70</a:t>
              </a:r>
            </a:p>
          </p:txBody>
        </p:sp>
        <p:sp>
          <p:nvSpPr>
            <p:cNvPr id="79" name="TextBox 78"/>
            <p:cNvSpPr txBox="1"/>
            <p:nvPr userDrawn="1"/>
          </p:nvSpPr>
          <p:spPr>
            <a:xfrm>
              <a:off x="-788562" y="4393170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174-208-134</a:t>
              </a:r>
            </a:p>
          </p:txBody>
        </p:sp>
        <p:sp>
          <p:nvSpPr>
            <p:cNvPr id="80" name="TextBox 79"/>
            <p:cNvSpPr txBox="1"/>
            <p:nvPr userDrawn="1"/>
          </p:nvSpPr>
          <p:spPr>
            <a:xfrm>
              <a:off x="-788562" y="4025280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127-163-87</a:t>
              </a:r>
            </a:p>
          </p:txBody>
        </p:sp>
        <p:sp>
          <p:nvSpPr>
            <p:cNvPr id="81" name="TextBox 80"/>
            <p:cNvSpPr txBox="1"/>
            <p:nvPr userDrawn="1"/>
          </p:nvSpPr>
          <p:spPr>
            <a:xfrm>
              <a:off x="-788562" y="4761062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214-232-195</a:t>
              </a:r>
            </a:p>
          </p:txBody>
        </p:sp>
        <p:sp>
          <p:nvSpPr>
            <p:cNvPr id="82" name="TextBox 81"/>
            <p:cNvSpPr txBox="1"/>
            <p:nvPr userDrawn="1"/>
          </p:nvSpPr>
          <p:spPr>
            <a:xfrm>
              <a:off x="-1188640" y="2576886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47-135-182</a:t>
              </a:r>
            </a:p>
          </p:txBody>
        </p:sp>
        <p:sp>
          <p:nvSpPr>
            <p:cNvPr id="83" name="TextBox 82"/>
            <p:cNvSpPr txBox="1"/>
            <p:nvPr userDrawn="1"/>
          </p:nvSpPr>
          <p:spPr>
            <a:xfrm>
              <a:off x="-1188640" y="2196404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32-102-137</a:t>
              </a:r>
            </a:p>
          </p:txBody>
        </p:sp>
        <p:sp>
          <p:nvSpPr>
            <p:cNvPr id="84" name="TextBox 83"/>
            <p:cNvSpPr txBox="1"/>
            <p:nvPr userDrawn="1"/>
          </p:nvSpPr>
          <p:spPr>
            <a:xfrm>
              <a:off x="-1201428" y="2931790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97-185-233</a:t>
              </a:r>
            </a:p>
          </p:txBody>
        </p:sp>
        <p:sp>
          <p:nvSpPr>
            <p:cNvPr id="85" name="TextBox 84"/>
            <p:cNvSpPr txBox="1"/>
            <p:nvPr userDrawn="1"/>
          </p:nvSpPr>
          <p:spPr>
            <a:xfrm>
              <a:off x="-1188640" y="3309788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176-220-244</a:t>
              </a:r>
            </a:p>
          </p:txBody>
        </p:sp>
      </p:grpSp>
      <p:grpSp>
        <p:nvGrpSpPr>
          <p:cNvPr id="4" name="Группа 85"/>
          <p:cNvGrpSpPr/>
          <p:nvPr/>
        </p:nvGrpSpPr>
        <p:grpSpPr>
          <a:xfrm>
            <a:off x="8388424" y="115858"/>
            <a:ext cx="473224" cy="216024"/>
            <a:chOff x="1047751" y="5751512"/>
            <a:chExt cx="1016000" cy="455613"/>
          </a:xfrm>
          <a:solidFill>
            <a:srgbClr val="ED1B2F"/>
          </a:solidFill>
        </p:grpSpPr>
        <p:sp>
          <p:nvSpPr>
            <p:cNvPr id="87" name="Freeform 5"/>
            <p:cNvSpPr>
              <a:spLocks/>
            </p:cNvSpPr>
            <p:nvPr/>
          </p:nvSpPr>
          <p:spPr bwMode="auto">
            <a:xfrm>
              <a:off x="1428751" y="5864225"/>
              <a:ext cx="309563" cy="230188"/>
            </a:xfrm>
            <a:custGeom>
              <a:avLst/>
              <a:gdLst>
                <a:gd name="T0" fmla="*/ 105 w 195"/>
                <a:gd name="T1" fmla="*/ 0 h 145"/>
                <a:gd name="T2" fmla="*/ 195 w 195"/>
                <a:gd name="T3" fmla="*/ 0 h 145"/>
                <a:gd name="T4" fmla="*/ 87 w 195"/>
                <a:gd name="T5" fmla="*/ 145 h 145"/>
                <a:gd name="T6" fmla="*/ 0 w 195"/>
                <a:gd name="T7" fmla="*/ 145 h 145"/>
                <a:gd name="T8" fmla="*/ 105 w 195"/>
                <a:gd name="T9" fmla="*/ 0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" h="145">
                  <a:moveTo>
                    <a:pt x="105" y="0"/>
                  </a:moveTo>
                  <a:lnTo>
                    <a:pt x="195" y="0"/>
                  </a:lnTo>
                  <a:lnTo>
                    <a:pt x="87" y="145"/>
                  </a:lnTo>
                  <a:lnTo>
                    <a:pt x="0" y="145"/>
                  </a:lnTo>
                  <a:lnTo>
                    <a:pt x="10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ru-RU">
                <a:solidFill>
                  <a:prstClr val="black"/>
                </a:solidFill>
                <a:latin typeface="Trebuchet MS"/>
                <a:cs typeface="+mn-cs"/>
              </a:endParaRPr>
            </a:p>
          </p:txBody>
        </p:sp>
        <p:sp>
          <p:nvSpPr>
            <p:cNvPr id="88" name="Freeform 6"/>
            <p:cNvSpPr>
              <a:spLocks/>
            </p:cNvSpPr>
            <p:nvPr/>
          </p:nvSpPr>
          <p:spPr bwMode="auto">
            <a:xfrm>
              <a:off x="1047751" y="5864225"/>
              <a:ext cx="423863" cy="342900"/>
            </a:xfrm>
            <a:custGeom>
              <a:avLst/>
              <a:gdLst>
                <a:gd name="T0" fmla="*/ 0 w 99"/>
                <a:gd name="T1" fmla="*/ 10 h 79"/>
                <a:gd name="T2" fmla="*/ 2 w 99"/>
                <a:gd name="T3" fmla="*/ 2 h 79"/>
                <a:gd name="T4" fmla="*/ 9 w 99"/>
                <a:gd name="T5" fmla="*/ 0 h 79"/>
                <a:gd name="T6" fmla="*/ 64 w 99"/>
                <a:gd name="T7" fmla="*/ 0 h 79"/>
                <a:gd name="T8" fmla="*/ 81 w 99"/>
                <a:gd name="T9" fmla="*/ 2 h 79"/>
                <a:gd name="T10" fmla="*/ 92 w 99"/>
                <a:gd name="T11" fmla="*/ 13 h 79"/>
                <a:gd name="T12" fmla="*/ 95 w 99"/>
                <a:gd name="T13" fmla="*/ 18 h 79"/>
                <a:gd name="T14" fmla="*/ 99 w 99"/>
                <a:gd name="T15" fmla="*/ 27 h 79"/>
                <a:gd name="T16" fmla="*/ 95 w 99"/>
                <a:gd name="T17" fmla="*/ 35 h 79"/>
                <a:gd name="T18" fmla="*/ 82 w 99"/>
                <a:gd name="T19" fmla="*/ 53 h 79"/>
                <a:gd name="T20" fmla="*/ 49 w 99"/>
                <a:gd name="T21" fmla="*/ 53 h 79"/>
                <a:gd name="T22" fmla="*/ 70 w 99"/>
                <a:gd name="T23" fmla="*/ 24 h 79"/>
                <a:gd name="T24" fmla="*/ 73 w 99"/>
                <a:gd name="T25" fmla="*/ 16 h 79"/>
                <a:gd name="T26" fmla="*/ 65 w 99"/>
                <a:gd name="T27" fmla="*/ 13 h 79"/>
                <a:gd name="T28" fmla="*/ 39 w 99"/>
                <a:gd name="T29" fmla="*/ 13 h 79"/>
                <a:gd name="T30" fmla="*/ 39 w 99"/>
                <a:gd name="T31" fmla="*/ 79 h 79"/>
                <a:gd name="T32" fmla="*/ 13 w 99"/>
                <a:gd name="T33" fmla="*/ 79 h 79"/>
                <a:gd name="T34" fmla="*/ 13 w 99"/>
                <a:gd name="T35" fmla="*/ 13 h 79"/>
                <a:gd name="T36" fmla="*/ 0 w 99"/>
                <a:gd name="T37" fmla="*/ 13 h 79"/>
                <a:gd name="T38" fmla="*/ 0 w 99"/>
                <a:gd name="T39" fmla="*/ 1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9" h="79">
                  <a:moveTo>
                    <a:pt x="0" y="10"/>
                  </a:moveTo>
                  <a:cubicBezTo>
                    <a:pt x="0" y="7"/>
                    <a:pt x="0" y="5"/>
                    <a:pt x="2" y="2"/>
                  </a:cubicBezTo>
                  <a:cubicBezTo>
                    <a:pt x="4" y="0"/>
                    <a:pt x="7" y="0"/>
                    <a:pt x="9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71" y="0"/>
                    <a:pt x="76" y="0"/>
                    <a:pt x="81" y="2"/>
                  </a:cubicBezTo>
                  <a:cubicBezTo>
                    <a:pt x="85" y="5"/>
                    <a:pt x="89" y="9"/>
                    <a:pt x="92" y="13"/>
                  </a:cubicBezTo>
                  <a:cubicBezTo>
                    <a:pt x="95" y="18"/>
                    <a:pt x="95" y="18"/>
                    <a:pt x="95" y="18"/>
                  </a:cubicBezTo>
                  <a:cubicBezTo>
                    <a:pt x="97" y="21"/>
                    <a:pt x="99" y="23"/>
                    <a:pt x="99" y="27"/>
                  </a:cubicBezTo>
                  <a:cubicBezTo>
                    <a:pt x="99" y="30"/>
                    <a:pt x="97" y="32"/>
                    <a:pt x="95" y="35"/>
                  </a:cubicBezTo>
                  <a:cubicBezTo>
                    <a:pt x="82" y="53"/>
                    <a:pt x="82" y="53"/>
                    <a:pt x="82" y="53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70" y="24"/>
                    <a:pt x="70" y="24"/>
                    <a:pt x="70" y="24"/>
                  </a:cubicBezTo>
                  <a:cubicBezTo>
                    <a:pt x="72" y="22"/>
                    <a:pt x="74" y="19"/>
                    <a:pt x="73" y="16"/>
                  </a:cubicBezTo>
                  <a:cubicBezTo>
                    <a:pt x="71" y="13"/>
                    <a:pt x="68" y="13"/>
                    <a:pt x="65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79"/>
                    <a:pt x="39" y="79"/>
                    <a:pt x="39" y="79"/>
                  </a:cubicBezTo>
                  <a:cubicBezTo>
                    <a:pt x="13" y="79"/>
                    <a:pt x="13" y="79"/>
                    <a:pt x="13" y="79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0" y="13"/>
                    <a:pt x="0" y="13"/>
                    <a:pt x="0" y="13"/>
                  </a:cubicBezTo>
                  <a:lnTo>
                    <a:pt x="0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ru-RU">
                <a:solidFill>
                  <a:prstClr val="black"/>
                </a:solidFill>
                <a:latin typeface="Trebuchet MS"/>
                <a:cs typeface="+mn-cs"/>
              </a:endParaRPr>
            </a:p>
          </p:txBody>
        </p:sp>
        <p:sp>
          <p:nvSpPr>
            <p:cNvPr id="89" name="Freeform 7"/>
            <p:cNvSpPr>
              <a:spLocks/>
            </p:cNvSpPr>
            <p:nvPr/>
          </p:nvSpPr>
          <p:spPr bwMode="auto">
            <a:xfrm>
              <a:off x="1690688" y="5751512"/>
              <a:ext cx="373063" cy="342900"/>
            </a:xfrm>
            <a:custGeom>
              <a:avLst/>
              <a:gdLst>
                <a:gd name="T0" fmla="*/ 17 w 87"/>
                <a:gd name="T1" fmla="*/ 9 h 79"/>
                <a:gd name="T2" fmla="*/ 17 w 87"/>
                <a:gd name="T3" fmla="*/ 13 h 79"/>
                <a:gd name="T4" fmla="*/ 50 w 87"/>
                <a:gd name="T5" fmla="*/ 13 h 79"/>
                <a:gd name="T6" fmla="*/ 58 w 87"/>
                <a:gd name="T7" fmla="*/ 15 h 79"/>
                <a:gd name="T8" fmla="*/ 60 w 87"/>
                <a:gd name="T9" fmla="*/ 23 h 79"/>
                <a:gd name="T10" fmla="*/ 60 w 87"/>
                <a:gd name="T11" fmla="*/ 56 h 79"/>
                <a:gd name="T12" fmla="*/ 58 w 87"/>
                <a:gd name="T13" fmla="*/ 63 h 79"/>
                <a:gd name="T14" fmla="*/ 50 w 87"/>
                <a:gd name="T15" fmla="*/ 66 h 79"/>
                <a:gd name="T16" fmla="*/ 34 w 87"/>
                <a:gd name="T17" fmla="*/ 66 h 79"/>
                <a:gd name="T18" fmla="*/ 27 w 87"/>
                <a:gd name="T19" fmla="*/ 63 h 79"/>
                <a:gd name="T20" fmla="*/ 29 w 87"/>
                <a:gd name="T21" fmla="*/ 55 h 79"/>
                <a:gd name="T22" fmla="*/ 50 w 87"/>
                <a:gd name="T23" fmla="*/ 26 h 79"/>
                <a:gd name="T24" fmla="*/ 17 w 87"/>
                <a:gd name="T25" fmla="*/ 26 h 79"/>
                <a:gd name="T26" fmla="*/ 4 w 87"/>
                <a:gd name="T27" fmla="*/ 44 h 79"/>
                <a:gd name="T28" fmla="*/ 0 w 87"/>
                <a:gd name="T29" fmla="*/ 53 h 79"/>
                <a:gd name="T30" fmla="*/ 4 w 87"/>
                <a:gd name="T31" fmla="*/ 61 h 79"/>
                <a:gd name="T32" fmla="*/ 8 w 87"/>
                <a:gd name="T33" fmla="*/ 66 h 79"/>
                <a:gd name="T34" fmla="*/ 19 w 87"/>
                <a:gd name="T35" fmla="*/ 77 h 79"/>
                <a:gd name="T36" fmla="*/ 35 w 87"/>
                <a:gd name="T37" fmla="*/ 79 h 79"/>
                <a:gd name="T38" fmla="*/ 50 w 87"/>
                <a:gd name="T39" fmla="*/ 79 h 79"/>
                <a:gd name="T40" fmla="*/ 78 w 87"/>
                <a:gd name="T41" fmla="*/ 71 h 79"/>
                <a:gd name="T42" fmla="*/ 87 w 87"/>
                <a:gd name="T43" fmla="*/ 46 h 79"/>
                <a:gd name="T44" fmla="*/ 87 w 87"/>
                <a:gd name="T45" fmla="*/ 33 h 79"/>
                <a:gd name="T46" fmla="*/ 78 w 87"/>
                <a:gd name="T47" fmla="*/ 8 h 79"/>
                <a:gd name="T48" fmla="*/ 50 w 87"/>
                <a:gd name="T49" fmla="*/ 0 h 79"/>
                <a:gd name="T50" fmla="*/ 27 w 87"/>
                <a:gd name="T51" fmla="*/ 0 h 79"/>
                <a:gd name="T52" fmla="*/ 20 w 87"/>
                <a:gd name="T53" fmla="*/ 2 h 79"/>
                <a:gd name="T54" fmla="*/ 17 w 87"/>
                <a:gd name="T55" fmla="*/ 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7" h="79">
                  <a:moveTo>
                    <a:pt x="17" y="9"/>
                  </a:moveTo>
                  <a:cubicBezTo>
                    <a:pt x="17" y="13"/>
                    <a:pt x="17" y="13"/>
                    <a:pt x="17" y="13"/>
                  </a:cubicBezTo>
                  <a:cubicBezTo>
                    <a:pt x="50" y="13"/>
                    <a:pt x="50" y="13"/>
                    <a:pt x="50" y="13"/>
                  </a:cubicBezTo>
                  <a:cubicBezTo>
                    <a:pt x="53" y="13"/>
                    <a:pt x="56" y="13"/>
                    <a:pt x="58" y="15"/>
                  </a:cubicBezTo>
                  <a:cubicBezTo>
                    <a:pt x="60" y="17"/>
                    <a:pt x="60" y="21"/>
                    <a:pt x="60" y="23"/>
                  </a:cubicBezTo>
                  <a:cubicBezTo>
                    <a:pt x="60" y="56"/>
                    <a:pt x="60" y="56"/>
                    <a:pt x="60" y="56"/>
                  </a:cubicBezTo>
                  <a:cubicBezTo>
                    <a:pt x="60" y="58"/>
                    <a:pt x="60" y="61"/>
                    <a:pt x="58" y="63"/>
                  </a:cubicBezTo>
                  <a:cubicBezTo>
                    <a:pt x="56" y="66"/>
                    <a:pt x="53" y="66"/>
                    <a:pt x="50" y="66"/>
                  </a:cubicBezTo>
                  <a:cubicBezTo>
                    <a:pt x="34" y="66"/>
                    <a:pt x="34" y="66"/>
                    <a:pt x="34" y="66"/>
                  </a:cubicBezTo>
                  <a:cubicBezTo>
                    <a:pt x="32" y="66"/>
                    <a:pt x="28" y="66"/>
                    <a:pt x="27" y="63"/>
                  </a:cubicBezTo>
                  <a:cubicBezTo>
                    <a:pt x="25" y="60"/>
                    <a:pt x="27" y="57"/>
                    <a:pt x="29" y="55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17" y="26"/>
                    <a:pt x="17" y="26"/>
                    <a:pt x="17" y="26"/>
                  </a:cubicBezTo>
                  <a:cubicBezTo>
                    <a:pt x="4" y="44"/>
                    <a:pt x="4" y="44"/>
                    <a:pt x="4" y="44"/>
                  </a:cubicBezTo>
                  <a:cubicBezTo>
                    <a:pt x="2" y="47"/>
                    <a:pt x="0" y="49"/>
                    <a:pt x="0" y="53"/>
                  </a:cubicBezTo>
                  <a:cubicBezTo>
                    <a:pt x="0" y="56"/>
                    <a:pt x="2" y="58"/>
                    <a:pt x="4" y="61"/>
                  </a:cubicBezTo>
                  <a:cubicBezTo>
                    <a:pt x="8" y="66"/>
                    <a:pt x="8" y="66"/>
                    <a:pt x="8" y="66"/>
                  </a:cubicBezTo>
                  <a:cubicBezTo>
                    <a:pt x="11" y="70"/>
                    <a:pt x="14" y="74"/>
                    <a:pt x="19" y="77"/>
                  </a:cubicBezTo>
                  <a:cubicBezTo>
                    <a:pt x="23" y="79"/>
                    <a:pt x="28" y="79"/>
                    <a:pt x="35" y="79"/>
                  </a:cubicBezTo>
                  <a:cubicBezTo>
                    <a:pt x="50" y="79"/>
                    <a:pt x="50" y="79"/>
                    <a:pt x="50" y="79"/>
                  </a:cubicBezTo>
                  <a:cubicBezTo>
                    <a:pt x="58" y="79"/>
                    <a:pt x="70" y="79"/>
                    <a:pt x="78" y="71"/>
                  </a:cubicBezTo>
                  <a:cubicBezTo>
                    <a:pt x="87" y="62"/>
                    <a:pt x="87" y="50"/>
                    <a:pt x="87" y="46"/>
                  </a:cubicBezTo>
                  <a:cubicBezTo>
                    <a:pt x="87" y="33"/>
                    <a:pt x="87" y="33"/>
                    <a:pt x="87" y="33"/>
                  </a:cubicBezTo>
                  <a:cubicBezTo>
                    <a:pt x="87" y="28"/>
                    <a:pt x="87" y="16"/>
                    <a:pt x="78" y="8"/>
                  </a:cubicBezTo>
                  <a:cubicBezTo>
                    <a:pt x="70" y="0"/>
                    <a:pt x="58" y="0"/>
                    <a:pt x="50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5" y="0"/>
                    <a:pt x="22" y="0"/>
                    <a:pt x="20" y="2"/>
                  </a:cubicBezTo>
                  <a:cubicBezTo>
                    <a:pt x="17" y="4"/>
                    <a:pt x="17" y="7"/>
                    <a:pt x="17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ru-RU">
                <a:solidFill>
                  <a:prstClr val="black"/>
                </a:solidFill>
                <a:latin typeface="Trebuchet MS"/>
                <a:cs typeface="+mn-cs"/>
              </a:endParaRPr>
            </a:p>
          </p:txBody>
        </p:sp>
      </p:grpSp>
      <p:cxnSp>
        <p:nvCxnSpPr>
          <p:cNvPr id="90" name="Прямая соединительная линия 89"/>
          <p:cNvCxnSpPr/>
          <p:nvPr/>
        </p:nvCxnSpPr>
        <p:spPr>
          <a:xfrm>
            <a:off x="467546" y="519521"/>
            <a:ext cx="7600667" cy="0"/>
          </a:xfrm>
          <a:prstGeom prst="line">
            <a:avLst/>
          </a:prstGeom>
          <a:ln w="12700">
            <a:solidFill>
              <a:schemeClr val="bg2">
                <a:lumMod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Овал 90"/>
          <p:cNvSpPr/>
          <p:nvPr/>
        </p:nvSpPr>
        <p:spPr>
          <a:xfrm>
            <a:off x="567844" y="483518"/>
            <a:ext cx="72008" cy="72008"/>
          </a:xfrm>
          <a:prstGeom prst="ellipse">
            <a:avLst/>
          </a:prstGeom>
          <a:solidFill>
            <a:schemeClr val="bg1"/>
          </a:solidFill>
          <a:ln w="22225">
            <a:solidFill>
              <a:srgbClr val="ED1B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</a:pPr>
            <a:endParaRPr lang="ru-RU" dirty="0">
              <a:solidFill>
                <a:prstClr val="white"/>
              </a:solidFill>
            </a:endParaRPr>
          </a:p>
        </p:txBody>
      </p:sp>
      <p:cxnSp>
        <p:nvCxnSpPr>
          <p:cNvPr id="92" name="Прямая соединительная линия 91"/>
          <p:cNvCxnSpPr/>
          <p:nvPr/>
        </p:nvCxnSpPr>
        <p:spPr>
          <a:xfrm>
            <a:off x="1" y="519520"/>
            <a:ext cx="567842" cy="0"/>
          </a:xfrm>
          <a:prstGeom prst="line">
            <a:avLst/>
          </a:prstGeom>
          <a:ln w="22225">
            <a:solidFill>
              <a:srgbClr val="ED1B2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549" r:id="rId1"/>
    <p:sldLayoutId id="2147484550" r:id="rId2"/>
    <p:sldLayoutId id="2147484551" r:id="rId3"/>
    <p:sldLayoutId id="2147484552" r:id="rId4"/>
    <p:sldLayoutId id="2147484553" r:id="rId5"/>
    <p:sldLayoutId id="2147484554" r:id="rId6"/>
    <p:sldLayoutId id="2147484555" r:id="rId7"/>
    <p:sldLayoutId id="2147484556" r:id="rId8"/>
    <p:sldLayoutId id="2147484557" r:id="rId9"/>
    <p:sldLayoutId id="2147484558" r:id="rId10"/>
    <p:sldLayoutId id="2147484559" r:id="rId11"/>
    <p:sldLayoutId id="2147484560" r:id="rId12"/>
    <p:sldLayoutId id="2147484561" r:id="rId13"/>
    <p:sldLayoutId id="2147484562" r:id="rId14"/>
    <p:sldLayoutId id="2147484564" r:id="rId15"/>
    <p:sldLayoutId id="2147484565" r:id="rId16"/>
    <p:sldLayoutId id="2147484566" r:id="rId17"/>
    <p:sldLayoutId id="2147484567" r:id="rId18"/>
    <p:sldLayoutId id="2147484568" r:id="rId19"/>
    <p:sldLayoutId id="2147484569" r:id="rId20"/>
    <p:sldLayoutId id="2147484570" r:id="rId21"/>
    <p:sldLayoutId id="2147484571" r:id="rId22"/>
    <p:sldLayoutId id="2147484572" r:id="rId23"/>
    <p:sldLayoutId id="2147484573" r:id="rId24"/>
    <p:sldLayoutId id="2147484574" r:id="rId25"/>
    <p:sldLayoutId id="2147484575" r:id="rId26"/>
    <p:sldLayoutId id="2147484576" r:id="rId27"/>
    <p:sldLayoutId id="2147484577" r:id="rId28"/>
    <p:sldLayoutId id="2147484578" r:id="rId29"/>
    <p:sldLayoutId id="2147484579" r:id="rId30"/>
    <p:sldLayoutId id="2147484580" r:id="rId31"/>
    <p:sldLayoutId id="2147484581" r:id="rId32"/>
    <p:sldLayoutId id="2147484582" r:id="rId33"/>
    <p:sldLayoutId id="2147484583" r:id="rId34"/>
    <p:sldLayoutId id="2147484584" r:id="rId35"/>
    <p:sldLayoutId id="2147484585" r:id="rId36"/>
    <p:sldLayoutId id="2147484586" r:id="rId37"/>
    <p:sldLayoutId id="2147484590" r:id="rId38"/>
    <p:sldLayoutId id="2147484592" r:id="rId39"/>
    <p:sldLayoutId id="2147484593" r:id="rId40"/>
    <p:sldLayoutId id="2147484596" r:id="rId41"/>
    <p:sldLayoutId id="2147484597" r:id="rId42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1400" b="1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5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5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5.xml"/><Relationship Id="rId5" Type="http://schemas.openxmlformats.org/officeDocument/2006/relationships/image" Target="../media/image11.jpeg"/><Relationship Id="rId4" Type="http://schemas.openxmlformats.org/officeDocument/2006/relationships/image" Target="../media/image10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5.xml"/><Relationship Id="rId5" Type="http://schemas.openxmlformats.org/officeDocument/2006/relationships/image" Target="../media/image14.jpeg"/><Relationship Id="rId4" Type="http://schemas.openxmlformats.org/officeDocument/2006/relationships/image" Target="../media/image13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5.xml"/><Relationship Id="rId5" Type="http://schemas.openxmlformats.org/officeDocument/2006/relationships/image" Target="../media/image16.jpeg"/><Relationship Id="rId4" Type="http://schemas.openxmlformats.org/officeDocument/2006/relationships/image" Target="../media/image15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-6524" y="133973"/>
            <a:ext cx="8316416" cy="307754"/>
          </a:xfrm>
          <a:prstGeom prst="rect">
            <a:avLst/>
          </a:prstGeom>
          <a:noFill/>
        </p:spPr>
        <p:txBody>
          <a:bodyPr wrap="square" lIns="91420" tIns="45709" rIns="91420" bIns="45709" rtlCol="0">
            <a:spAutoFit/>
          </a:bodyPr>
          <a:lstStyle/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400" b="1" dirty="0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татистические </a:t>
            </a:r>
            <a:r>
              <a:rPr lang="ru-RU" sz="1400" b="1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анные о столкновениях и пострадавших</a:t>
            </a:r>
            <a:r>
              <a:rPr kumimoji="0" lang="ru-RU" sz="1400" b="1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endParaRPr kumimoji="0" lang="ru-RU" sz="14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8" name="Прямоугольник 57"/>
          <p:cNvSpPr/>
          <p:nvPr/>
        </p:nvSpPr>
        <p:spPr>
          <a:xfrm>
            <a:off x="323528" y="1995686"/>
            <a:ext cx="8568952" cy="21602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graphicFrame>
        <p:nvGraphicFramePr>
          <p:cNvPr id="10" name="Диаграмма 9"/>
          <p:cNvGraphicFramePr/>
          <p:nvPr>
            <p:extLst>
              <p:ext uri="{D42A27DB-BD31-4B8C-83A1-F6EECF244321}">
                <p14:modId xmlns:p14="http://schemas.microsoft.com/office/powerpoint/2010/main" val="1642137103"/>
              </p:ext>
            </p:extLst>
          </p:nvPr>
        </p:nvGraphicFramePr>
        <p:xfrm>
          <a:off x="215516" y="920159"/>
          <a:ext cx="3182084" cy="20116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3" name="Скругленный прямоугольник 75">
            <a:extLst>
              <a:ext uri="{FF2B5EF4-FFF2-40B4-BE49-F238E27FC236}">
                <a16:creationId xmlns:a16="http://schemas.microsoft.com/office/drawing/2014/main" xmlns="" id="{CA7B4BFF-2B01-434E-B1F1-98505B583DEA}"/>
              </a:ext>
            </a:extLst>
          </p:cNvPr>
          <p:cNvSpPr/>
          <p:nvPr/>
        </p:nvSpPr>
        <p:spPr>
          <a:xfrm>
            <a:off x="3275856" y="663538"/>
            <a:ext cx="2700300" cy="360040"/>
          </a:xfrm>
          <a:prstGeom prst="roundRect">
            <a:avLst/>
          </a:prstGeom>
          <a:solidFill>
            <a:schemeClr val="tx2"/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ru-RU" sz="10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а 2025 год на сети железных дорог</a:t>
            </a:r>
            <a:endParaRPr lang="ru-RU" sz="1000" b="1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19" name="Диаграмма 18"/>
          <p:cNvGraphicFramePr/>
          <p:nvPr>
            <p:extLst>
              <p:ext uri="{D42A27DB-BD31-4B8C-83A1-F6EECF244321}">
                <p14:modId xmlns:p14="http://schemas.microsoft.com/office/powerpoint/2010/main" val="2322919907"/>
              </p:ext>
            </p:extLst>
          </p:nvPr>
        </p:nvGraphicFramePr>
        <p:xfrm>
          <a:off x="3108568" y="1095586"/>
          <a:ext cx="3315962" cy="1800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0" name="Скругленный прямоугольник 75">
            <a:extLst>
              <a:ext uri="{FF2B5EF4-FFF2-40B4-BE49-F238E27FC236}">
                <a16:creationId xmlns:a16="http://schemas.microsoft.com/office/drawing/2014/main" xmlns="" id="{CA7B4BFF-2B01-434E-B1F1-98505B583DEA}"/>
              </a:ext>
            </a:extLst>
          </p:cNvPr>
          <p:cNvSpPr/>
          <p:nvPr/>
        </p:nvSpPr>
        <p:spPr>
          <a:xfrm>
            <a:off x="256614" y="2666624"/>
            <a:ext cx="8743877" cy="2317394"/>
          </a:xfrm>
          <a:prstGeom prst="roundRect">
            <a:avLst/>
          </a:prstGeom>
          <a:solidFill>
            <a:schemeClr val="tx2"/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ru-RU" sz="9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а 2025 год  в границах Красноярской железной дороги:</a:t>
            </a:r>
          </a:p>
          <a:p>
            <a:pPr algn="just"/>
            <a:r>
              <a:rPr lang="ru-RU" sz="8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опущено 8</a:t>
            </a:r>
            <a:r>
              <a:rPr lang="ru-RU" sz="8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8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орожно-транспортных происшествий на железнодорожных </a:t>
            </a:r>
            <a:r>
              <a:rPr lang="ru-RU" sz="8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ереездах: </a:t>
            </a:r>
            <a:r>
              <a:rPr lang="en-US" sz="800" b="1" dirty="0" smtClean="0">
                <a:solidFill>
                  <a:schemeClr val="bg2">
                    <a:lumMod val="9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8 </a:t>
            </a:r>
            <a:r>
              <a:rPr lang="ru-RU" sz="800" b="1" dirty="0" smtClean="0">
                <a:solidFill>
                  <a:schemeClr val="bg2">
                    <a:lumMod val="9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м</a:t>
            </a:r>
            <a:r>
              <a:rPr lang="ru-RU" sz="8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800" b="1" dirty="0" smtClean="0">
                <a:solidFill>
                  <a:schemeClr val="bg2">
                    <a:lumMod val="9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ерегон Красноярские Столбы – Дивногорск (поселок Овсянка)</a:t>
            </a:r>
            <a:r>
              <a:rPr lang="ru-RU" sz="8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допущено </a:t>
            </a:r>
            <a:r>
              <a:rPr lang="ru-RU" sz="8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толкновение электропоезда с легковым автомобилем марки «</a:t>
            </a:r>
            <a:r>
              <a:rPr lang="en-US" sz="8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VOLVO</a:t>
            </a:r>
            <a:r>
              <a:rPr lang="ru-RU" sz="8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; </a:t>
            </a:r>
            <a:r>
              <a:rPr lang="ru-RU" sz="800" b="1" dirty="0" smtClean="0">
                <a:solidFill>
                  <a:schemeClr val="bg2">
                    <a:lumMod val="9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895 км станция Абакумовка</a:t>
            </a:r>
            <a:r>
              <a:rPr lang="ru-RU" sz="8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в границах Иланского района допущено  </a:t>
            </a:r>
            <a:r>
              <a:rPr lang="ru-RU" sz="8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толкновение  грузового поезда с легковым автомобилем марки «Mazda Axela</a:t>
            </a:r>
            <a:r>
              <a:rPr lang="ru-RU" sz="8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; </a:t>
            </a:r>
            <a:r>
              <a:rPr lang="ru-RU" sz="800" b="1" dirty="0" smtClean="0">
                <a:solidFill>
                  <a:schemeClr val="bg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91 км перегон Аскиз – Чартыковский</a:t>
            </a:r>
            <a:r>
              <a:rPr lang="ru-RU" sz="8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в границах Аскизского района допущено </a:t>
            </a:r>
            <a:r>
              <a:rPr lang="ru-RU" sz="8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толкновение  грузового поезда с легковым автомобилем марки </a:t>
            </a:r>
            <a:r>
              <a:rPr lang="ru-RU" sz="8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«</a:t>
            </a:r>
            <a:r>
              <a:rPr lang="en-US" sz="8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oyota </a:t>
            </a:r>
            <a:r>
              <a:rPr lang="en-US" sz="8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box</a:t>
            </a:r>
            <a:r>
              <a:rPr lang="ru-RU" sz="8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, </a:t>
            </a:r>
            <a:r>
              <a:rPr lang="ru-RU" sz="800" b="1" dirty="0" smtClean="0">
                <a:solidFill>
                  <a:schemeClr val="bg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4 </a:t>
            </a:r>
            <a:r>
              <a:rPr lang="ru-RU" sz="800" b="1" dirty="0">
                <a:solidFill>
                  <a:schemeClr val="bg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м </a:t>
            </a:r>
            <a:r>
              <a:rPr lang="ru-RU" sz="800" b="1" dirty="0" smtClean="0">
                <a:solidFill>
                  <a:schemeClr val="bg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ерегон </a:t>
            </a:r>
            <a:r>
              <a:rPr lang="ru-RU" sz="800" b="1" dirty="0">
                <a:solidFill>
                  <a:schemeClr val="bg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расноярские Столбы -Дивногорск (г. Красноярск) </a:t>
            </a:r>
            <a:r>
              <a:rPr lang="ru-RU" sz="8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опущено  столкновение  электропоезда с легковым автомобилем марки «</a:t>
            </a:r>
            <a:r>
              <a:rPr lang="en-US" sz="8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ANDERO</a:t>
            </a:r>
            <a:r>
              <a:rPr lang="ru-RU" sz="8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8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nault</a:t>
            </a:r>
            <a:r>
              <a:rPr lang="ru-RU" sz="8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; </a:t>
            </a:r>
            <a:r>
              <a:rPr lang="ru-RU" sz="800" b="1" dirty="0" smtClean="0">
                <a:solidFill>
                  <a:schemeClr val="bg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570 км на Путевом посту 570 км </a:t>
            </a:r>
            <a:r>
              <a:rPr lang="ru-RU" sz="8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 границах Курагинского района допущено столкновение одиночного электровоза с легковым автомобилем марки «</a:t>
            </a:r>
            <a:r>
              <a:rPr lang="en-US" sz="8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yundai </a:t>
            </a:r>
            <a:r>
              <a:rPr lang="en-US" sz="8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reta</a:t>
            </a:r>
            <a:r>
              <a:rPr lang="ru-RU" sz="8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; </a:t>
            </a:r>
            <a:r>
              <a:rPr lang="ru-RU" sz="800" b="1" dirty="0">
                <a:solidFill>
                  <a:schemeClr val="bg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73 км перегон Карай – Чульжан </a:t>
            </a:r>
            <a:r>
              <a:rPr lang="ru-RU" sz="8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Междуреченский район) допущено столкновение поезда с легковым автомобилем «</a:t>
            </a:r>
            <a:r>
              <a:rPr lang="en-US" sz="8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koda Rapid</a:t>
            </a:r>
            <a:r>
              <a:rPr lang="ru-RU" sz="8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; </a:t>
            </a:r>
            <a:r>
              <a:rPr lang="ru-RU" sz="800" b="1" dirty="0" smtClean="0">
                <a:solidFill>
                  <a:schemeClr val="bg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490 км ст. Курагино </a:t>
            </a:r>
            <a:r>
              <a:rPr lang="ru-RU" sz="8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опущено столкновение грузового поезда с легковым автомобилем ВАЗ 2106; </a:t>
            </a:r>
            <a:r>
              <a:rPr lang="ru-RU" sz="800" b="1" dirty="0" smtClean="0">
                <a:solidFill>
                  <a:schemeClr val="bg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</a:t>
            </a:r>
            <a:r>
              <a:rPr lang="ru-RU" sz="800" b="1" dirty="0" smtClean="0">
                <a:solidFill>
                  <a:schemeClr val="bg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 Канск </a:t>
            </a:r>
            <a:r>
              <a:rPr lang="ru-RU" sz="800" b="1" dirty="0" smtClean="0">
                <a:solidFill>
                  <a:schemeClr val="bg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л.  Муромская </a:t>
            </a:r>
            <a:r>
              <a:rPr lang="ru-RU" sz="8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опущено </a:t>
            </a:r>
            <a:r>
              <a:rPr lang="ru-RU" sz="8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толкновение тепловоза с легковым автомобилем «</a:t>
            </a:r>
            <a:r>
              <a:rPr lang="en-US" sz="8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AZDA Axela</a:t>
            </a:r>
            <a:r>
              <a:rPr lang="ru-RU" sz="8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  (за 2024 год допущено – 3 ДТП). </a:t>
            </a:r>
          </a:p>
          <a:p>
            <a:pPr algn="just"/>
            <a:r>
              <a:rPr lang="ru-RU" sz="9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опущено</a:t>
            </a:r>
            <a:r>
              <a:rPr lang="ru-RU" sz="9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4</a:t>
            </a:r>
            <a:r>
              <a:rPr lang="ru-RU" sz="9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дорожно-транспортных происшествий на железнодорожных переездах без столкновения с подвижным составом: </a:t>
            </a:r>
            <a:r>
              <a:rPr lang="ru-RU" sz="9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 </a:t>
            </a:r>
            <a:r>
              <a:rPr lang="ru-RU" sz="8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847 км перегон Боготол – Вагино, в границах города Боготола, обслуживаемым дежурным работником, допущен наезд на световую и звуковую сигнализацию водителем легкового автомобиля «</a:t>
            </a:r>
            <a:r>
              <a:rPr lang="en-US" sz="8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ORD ESCAPE</a:t>
            </a:r>
            <a:r>
              <a:rPr lang="ru-RU" sz="8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;  на 836 км перегон Ирбейская – Коростелёво, в границах Ирбейского района, при следовании через переезд  лесовоза «УРАЛ» допущен разрыв стропы увязки груза, в следствие чего в границах переезда упало 3 бревна, 2 случая </a:t>
            </a:r>
            <a:r>
              <a:rPr lang="ru-RU" sz="8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 границах Нижнеингашского района на </a:t>
            </a:r>
            <a:r>
              <a:rPr lang="ru-RU" sz="8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4397 км  ст. Сулемка водитель легкового автомобиля  на большой скорости допустил наезд на столб электроосвещения и случай и на 4450 км водитель автомобиля</a:t>
            </a:r>
            <a:r>
              <a:rPr lang="ru-RU" sz="8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8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 состоянии алкогольного опьянения на большой скорости допустил наезд на горизонтально-поворотный шлагбаум и в столб </a:t>
            </a:r>
            <a:r>
              <a:rPr lang="ru-RU" sz="8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электроосвещения.</a:t>
            </a:r>
            <a:endParaRPr lang="ru-RU" sz="800" b="1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9" name="Диаграмма 8"/>
          <p:cNvGraphicFramePr/>
          <p:nvPr>
            <p:extLst>
              <p:ext uri="{D42A27DB-BD31-4B8C-83A1-F6EECF244321}">
                <p14:modId xmlns:p14="http://schemas.microsoft.com/office/powerpoint/2010/main" val="1993899684"/>
              </p:ext>
            </p:extLst>
          </p:nvPr>
        </p:nvGraphicFramePr>
        <p:xfrm>
          <a:off x="20" y="1095586"/>
          <a:ext cx="3315962" cy="1800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2" name="Скругленный прямоугольник 75">
            <a:extLst>
              <a:ext uri="{FF2B5EF4-FFF2-40B4-BE49-F238E27FC236}">
                <a16:creationId xmlns:a16="http://schemas.microsoft.com/office/drawing/2014/main" xmlns="" id="{CA7B4BFF-2B01-434E-B1F1-98505B583DEA}"/>
              </a:ext>
            </a:extLst>
          </p:cNvPr>
          <p:cNvSpPr/>
          <p:nvPr/>
        </p:nvSpPr>
        <p:spPr>
          <a:xfrm>
            <a:off x="107504" y="663538"/>
            <a:ext cx="2916324" cy="360040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ru-RU" sz="10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а 2024 год на сети железных дорог</a:t>
            </a:r>
            <a:endParaRPr lang="ru-RU" sz="1000" b="1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4" name="Скругленный прямоугольник 75">
            <a:extLst>
              <a:ext uri="{FF2B5EF4-FFF2-40B4-BE49-F238E27FC236}">
                <a16:creationId xmlns:a16="http://schemas.microsoft.com/office/drawing/2014/main" xmlns="" id="{D649C976-CAE0-486C-9739-399E5F02F6FB}"/>
              </a:ext>
            </a:extLst>
          </p:cNvPr>
          <p:cNvSpPr/>
          <p:nvPr/>
        </p:nvSpPr>
        <p:spPr>
          <a:xfrm>
            <a:off x="6192180" y="591530"/>
            <a:ext cx="2808312" cy="1908212"/>
          </a:xfrm>
          <a:prstGeom prst="round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ru-RU" sz="10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  </a:t>
            </a:r>
            <a:r>
              <a:rPr lang="ru-RU" sz="11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нализ 2025 года и 2024 года показал, что:</a:t>
            </a:r>
          </a:p>
          <a:p>
            <a:pPr algn="just"/>
            <a:r>
              <a:rPr lang="ru-RU" sz="11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    количество ДТП </a:t>
            </a:r>
            <a:r>
              <a:rPr lang="ru-RU" sz="11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величилось на 1 случай;</a:t>
            </a:r>
          </a:p>
          <a:p>
            <a:pPr algn="just"/>
            <a:r>
              <a:rPr lang="ru-RU" sz="11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    количество пострадавших </a:t>
            </a:r>
            <a:r>
              <a:rPr lang="ru-RU" sz="1100" b="1" dirty="0" smtClean="0">
                <a:solidFill>
                  <a:srgbClr val="00B0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меньшилось  с 146 до 112 человек;</a:t>
            </a:r>
          </a:p>
          <a:p>
            <a:pPr algn="just"/>
            <a:r>
              <a:rPr lang="ru-RU" sz="11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    количество погибших </a:t>
            </a:r>
            <a:r>
              <a:rPr lang="ru-RU" sz="1100" b="1" dirty="0" smtClean="0">
                <a:solidFill>
                  <a:srgbClr val="00B0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меньшилось с 46 до 33 человек.</a:t>
            </a:r>
            <a:endParaRPr lang="ru-RU" sz="1100" dirty="0">
              <a:solidFill>
                <a:srgbClr val="00B05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>
            <a:off x="0" y="447514"/>
            <a:ext cx="5688124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710438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0" y="1"/>
            <a:ext cx="8892480" cy="738642"/>
          </a:xfrm>
          <a:prstGeom prst="rect">
            <a:avLst/>
          </a:prstGeom>
          <a:noFill/>
        </p:spPr>
        <p:txBody>
          <a:bodyPr wrap="square" lIns="91420" tIns="45709" rIns="91420" bIns="45709" rtlCol="0">
            <a:spAutoFit/>
          </a:bodyPr>
          <a:lstStyle/>
          <a:p>
            <a:pPr algn="just">
              <a:defRPr/>
            </a:pPr>
            <a:r>
              <a:rPr lang="ru-RU" sz="1400" b="1" dirty="0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Четыре нарушения </a:t>
            </a:r>
            <a:r>
              <a:rPr lang="ru-RU" sz="1400" b="1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одителями автотранспортных средств ПДД РФ, при проследовании железнодорожных </a:t>
            </a:r>
            <a:r>
              <a:rPr lang="ru-RU" sz="1400" b="1" dirty="0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ереездов, без столкновения с подвижным составом</a:t>
            </a:r>
            <a:endParaRPr lang="ru-RU" sz="1400" b="1" i="1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5" name="Скругленный прямоугольник 75">
            <a:extLst>
              <a:ext uri="{FF2B5EF4-FFF2-40B4-BE49-F238E27FC236}">
                <a16:creationId xmlns:a16="http://schemas.microsoft.com/office/drawing/2014/main" xmlns="" id="{CA7B4BFF-2B01-434E-B1F1-98505B583DEA}"/>
              </a:ext>
            </a:extLst>
          </p:cNvPr>
          <p:cNvSpPr/>
          <p:nvPr/>
        </p:nvSpPr>
        <p:spPr>
          <a:xfrm>
            <a:off x="143508" y="663536"/>
            <a:ext cx="2088232" cy="1908214"/>
          </a:xfrm>
          <a:prstGeom prst="round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endParaRPr lang="ru-RU" sz="1000" b="1" dirty="0" smtClean="0">
              <a:solidFill>
                <a:srgbClr val="FF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just"/>
            <a:r>
              <a:rPr lang="ru-RU" sz="8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6 января 2025 </a:t>
            </a:r>
            <a:r>
              <a:rPr lang="ru-RU" sz="8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. </a:t>
            </a:r>
            <a:r>
              <a:rPr lang="ru-RU" sz="8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  ж.д. </a:t>
            </a:r>
            <a:r>
              <a:rPr lang="ru-RU" sz="8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ереезде 3847 км пк 6 перегон Боготол-Вагино </a:t>
            </a:r>
            <a:r>
              <a:rPr lang="ru-RU" sz="8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город Боготол) </a:t>
            </a:r>
            <a:r>
              <a:rPr lang="ru-RU" sz="8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одитель автомобиля «</a:t>
            </a:r>
            <a:r>
              <a:rPr lang="en-US" sz="8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ORD ESCAPE</a:t>
            </a:r>
            <a:r>
              <a:rPr lang="ru-RU" sz="8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 допустил наезд на световую и звуковую сигнализацию. Повреждено: дорожное ограждение, переездная сигнализация, УЗП, шлагбаумы, дорожные и сигнальные знаки, информационные таблички  и светофор</a:t>
            </a:r>
          </a:p>
          <a:p>
            <a:pPr algn="just"/>
            <a:r>
              <a:rPr lang="ru-RU" sz="10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endParaRPr lang="ru-RU" sz="10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6" name="Скругленный прямоугольник 75">
            <a:extLst>
              <a:ext uri="{FF2B5EF4-FFF2-40B4-BE49-F238E27FC236}">
                <a16:creationId xmlns:a16="http://schemas.microsoft.com/office/drawing/2014/main" xmlns="" id="{CA7B4BFF-2B01-434E-B1F1-98505B583DEA}"/>
              </a:ext>
            </a:extLst>
          </p:cNvPr>
          <p:cNvSpPr/>
          <p:nvPr/>
        </p:nvSpPr>
        <p:spPr>
          <a:xfrm>
            <a:off x="2519772" y="635944"/>
            <a:ext cx="1872462" cy="1914691"/>
          </a:xfrm>
          <a:prstGeom prst="round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ru-RU" sz="8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</a:t>
            </a:r>
            <a:r>
              <a:rPr lang="ru-RU" sz="8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февраля 2025 </a:t>
            </a:r>
            <a:r>
              <a:rPr lang="ru-RU" sz="8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. </a:t>
            </a:r>
            <a:r>
              <a:rPr lang="ru-RU" sz="8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  ж.д. </a:t>
            </a:r>
            <a:r>
              <a:rPr lang="ru-RU" sz="8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ереезде 836 км пк 5 перегона Ирбейская-Коростелёво </a:t>
            </a:r>
            <a:r>
              <a:rPr lang="ru-RU" sz="8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Ирбейский район) </a:t>
            </a:r>
            <a:r>
              <a:rPr lang="ru-RU" sz="8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и следовании  через переезд лесовоза «УРАЛ» допущен разрыв стропы увязки груза, в следствие чего в границах переезда 3 бревна, без повреждений устройств ОАО «РЖД» и без сбоя графика движения поездов</a:t>
            </a:r>
            <a:endParaRPr lang="ru-RU" sz="8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3" name="Стрелка вправо 22"/>
          <p:cNvSpPr/>
          <p:nvPr/>
        </p:nvSpPr>
        <p:spPr>
          <a:xfrm rot="5400000">
            <a:off x="3293985" y="2684052"/>
            <a:ext cx="324036" cy="216024"/>
          </a:xfrm>
          <a:prstGeom prst="rightArrow">
            <a:avLst/>
          </a:prstGeom>
          <a:solidFill>
            <a:schemeClr val="tx2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marL="8890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1" i="0" u="none" strike="noStrike" kern="0" cap="none" spc="0" normalizeH="0" baseline="0" noProof="0" dirty="0">
              <a:ln>
                <a:noFill/>
              </a:ln>
              <a:solidFill>
                <a:srgbClr val="0066A1">
                  <a:lumMod val="75000"/>
                </a:srgbClr>
              </a:solidFill>
              <a:effectLst/>
              <a:uLnTx/>
              <a:uFillTx/>
              <a:latin typeface="Trebuchet MS"/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24" name="Стрелка вправо 23"/>
          <p:cNvSpPr/>
          <p:nvPr/>
        </p:nvSpPr>
        <p:spPr>
          <a:xfrm rot="5400000">
            <a:off x="1025606" y="2704036"/>
            <a:ext cx="324036" cy="216024"/>
          </a:xfrm>
          <a:prstGeom prst="rightArrow">
            <a:avLst/>
          </a:prstGeom>
          <a:solidFill>
            <a:schemeClr val="tx2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marL="8890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1" i="0" u="none" strike="noStrike" kern="0" cap="none" spc="0" normalizeH="0" baseline="0" noProof="0" dirty="0">
              <a:ln>
                <a:noFill/>
              </a:ln>
              <a:solidFill>
                <a:srgbClr val="0066A1">
                  <a:lumMod val="75000"/>
                </a:srgbClr>
              </a:solidFill>
              <a:effectLst/>
              <a:uLnTx/>
              <a:uFillTx/>
              <a:latin typeface="Trebuchet MS"/>
              <a:ea typeface="Calibri" pitchFamily="34" charset="0"/>
              <a:cs typeface="Times New Roman" pitchFamily="18" charset="0"/>
            </a:endParaRPr>
          </a:p>
        </p:txBody>
      </p:sp>
      <p:pic>
        <p:nvPicPr>
          <p:cNvPr id="14" name="Рисунок 13" descr="C:\Users\korchaginav\Desktop\№1 переезды 2025 год\ДТП\ДТП ПЧ-1\2025-01-27T09_29_02.839.jpeg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508" y="3111810"/>
            <a:ext cx="1980220" cy="1800200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Рисунок 8" descr="C:\Users\korchaginav\Desktop\ДТП ПЧ-12\a40aa856-0f3d-44ce-b601-0c3a971694af.png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9772" y="3115686"/>
            <a:ext cx="1872462" cy="1800201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Скругленный прямоугольник 75">
            <a:extLst>
              <a:ext uri="{FF2B5EF4-FFF2-40B4-BE49-F238E27FC236}">
                <a16:creationId xmlns:a16="http://schemas.microsoft.com/office/drawing/2014/main" xmlns="" id="{CA7B4BFF-2B01-434E-B1F1-98505B583DEA}"/>
              </a:ext>
            </a:extLst>
          </p:cNvPr>
          <p:cNvSpPr/>
          <p:nvPr/>
        </p:nvSpPr>
        <p:spPr>
          <a:xfrm>
            <a:off x="4752020" y="638358"/>
            <a:ext cx="1980220" cy="1908213"/>
          </a:xfrm>
          <a:prstGeom prst="round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ru-RU" sz="8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9</a:t>
            </a:r>
            <a:r>
              <a:rPr lang="ru-RU" sz="8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февраля 2025 </a:t>
            </a:r>
            <a:r>
              <a:rPr lang="ru-RU" sz="8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. </a:t>
            </a:r>
            <a:r>
              <a:rPr lang="ru-RU" sz="8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  ж.д. </a:t>
            </a:r>
            <a:r>
              <a:rPr lang="ru-RU" sz="8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ереезде 4397 км пк 8 станция Сулёмка </a:t>
            </a:r>
            <a:r>
              <a:rPr lang="ru-RU" sz="8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Нижнеингашский район) </a:t>
            </a:r>
            <a:r>
              <a:rPr lang="ru-RU" sz="8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и следовании  через переезд водитель легкового автомобиля на большой скорости проехав переездный настил допустил наезд на столб электроосвещения. Пострадавших и погибших нет. Задержано 2 грузовых поезда</a:t>
            </a:r>
            <a:endParaRPr lang="ru-RU" sz="8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" name="Стрелка вправо 10"/>
          <p:cNvSpPr/>
          <p:nvPr/>
        </p:nvSpPr>
        <p:spPr>
          <a:xfrm rot="5400000">
            <a:off x="5580112" y="2672991"/>
            <a:ext cx="324036" cy="216024"/>
          </a:xfrm>
          <a:prstGeom prst="rightArrow">
            <a:avLst/>
          </a:prstGeom>
          <a:solidFill>
            <a:schemeClr val="tx2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marL="8890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1" i="0" u="none" strike="noStrike" kern="0" cap="none" spc="0" normalizeH="0" baseline="0" noProof="0" dirty="0">
              <a:ln>
                <a:noFill/>
              </a:ln>
              <a:solidFill>
                <a:srgbClr val="0066A1">
                  <a:lumMod val="75000"/>
                </a:srgbClr>
              </a:solidFill>
              <a:effectLst/>
              <a:uLnTx/>
              <a:uFillTx/>
              <a:latin typeface="Trebuchet MS"/>
              <a:ea typeface="Calibri" pitchFamily="34" charset="0"/>
              <a:cs typeface="Times New Roman" pitchFamily="18" charset="0"/>
            </a:endParaRPr>
          </a:p>
        </p:txBody>
      </p:sp>
      <p:pic>
        <p:nvPicPr>
          <p:cNvPr id="12" name="Рисунок 11"/>
          <p:cNvPicPr/>
          <p:nvPr/>
        </p:nvPicPr>
        <p:blipFill rotWithShape="1">
          <a:blip r:embed="rId5" cstate="print"/>
          <a:srcRect l="863" t="14474" r="79153" b="17982"/>
          <a:stretch/>
        </p:blipFill>
        <p:spPr bwMode="auto">
          <a:xfrm>
            <a:off x="4752020" y="3092221"/>
            <a:ext cx="1980220" cy="1823666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cxnSp>
        <p:nvCxnSpPr>
          <p:cNvPr id="22" name="Прямая соединительная линия 21"/>
          <p:cNvCxnSpPr/>
          <p:nvPr/>
        </p:nvCxnSpPr>
        <p:spPr>
          <a:xfrm>
            <a:off x="0" y="519522"/>
            <a:ext cx="8784468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Скругленный прямоугольник 75">
            <a:extLst>
              <a:ext uri="{FF2B5EF4-FFF2-40B4-BE49-F238E27FC236}">
                <a16:creationId xmlns:a16="http://schemas.microsoft.com/office/drawing/2014/main" xmlns="" id="{CA7B4BFF-2B01-434E-B1F1-98505B583DEA}"/>
              </a:ext>
            </a:extLst>
          </p:cNvPr>
          <p:cNvSpPr/>
          <p:nvPr/>
        </p:nvSpPr>
        <p:spPr>
          <a:xfrm>
            <a:off x="7054927" y="638358"/>
            <a:ext cx="1945565" cy="1899978"/>
          </a:xfrm>
          <a:prstGeom prst="round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ru-RU" sz="8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2 сентября 2025 </a:t>
            </a:r>
            <a:r>
              <a:rPr lang="ru-RU" sz="8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. </a:t>
            </a:r>
            <a:r>
              <a:rPr lang="ru-RU" sz="8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  ж.д. </a:t>
            </a:r>
            <a:r>
              <a:rPr lang="ru-RU" sz="8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ереезде 4450 км пк 5 станция Решоты </a:t>
            </a:r>
            <a:r>
              <a:rPr lang="ru-RU" sz="8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Нижнеингашский район) </a:t>
            </a:r>
            <a:r>
              <a:rPr lang="ru-RU" sz="8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и следовании  через переезд водитель легкового автомобиля в состоянии алкогольного опьянения на большой скорости допустил наезд на горизонтально-поворотный шлагбаум и в столб электроосвещения</a:t>
            </a:r>
            <a:endParaRPr lang="ru-RU" sz="8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7" name="Стрелка вправо 16"/>
          <p:cNvSpPr/>
          <p:nvPr/>
        </p:nvSpPr>
        <p:spPr>
          <a:xfrm rot="5400000">
            <a:off x="7865691" y="2672991"/>
            <a:ext cx="324036" cy="216024"/>
          </a:xfrm>
          <a:prstGeom prst="rightArrow">
            <a:avLst/>
          </a:prstGeom>
          <a:solidFill>
            <a:schemeClr val="tx2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marL="8890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1" i="0" u="none" strike="noStrike" kern="0" cap="none" spc="0" normalizeH="0" baseline="0" noProof="0" dirty="0">
              <a:ln>
                <a:noFill/>
              </a:ln>
              <a:solidFill>
                <a:srgbClr val="0066A1">
                  <a:lumMod val="75000"/>
                </a:srgbClr>
              </a:solidFill>
              <a:effectLst/>
              <a:uLnTx/>
              <a:uFillTx/>
              <a:latin typeface="Trebuchet MS"/>
              <a:ea typeface="Calibri" pitchFamily="34" charset="0"/>
              <a:cs typeface="Times New Roman" pitchFamily="18" charset="0"/>
            </a:endParaRPr>
          </a:p>
        </p:txBody>
      </p:sp>
      <p:pic>
        <p:nvPicPr>
          <p:cNvPr id="18" name="Рисунок 17" descr="C:\Users\korchaginav\Desktop\ПЧ-5\a3898655-6786-45ce-9392-7a6c87978c92.png"/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54926" y="3092221"/>
            <a:ext cx="1873557" cy="181206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279791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28172" y="87474"/>
            <a:ext cx="8316416" cy="307754"/>
          </a:xfrm>
          <a:prstGeom prst="rect">
            <a:avLst/>
          </a:prstGeom>
          <a:noFill/>
        </p:spPr>
        <p:txBody>
          <a:bodyPr wrap="square" lIns="91420" tIns="45709" rIns="91420" bIns="45709" rtlCol="0">
            <a:spAutoFit/>
          </a:bodyPr>
          <a:lstStyle/>
          <a:p>
            <a:pPr algn="just">
              <a:defRPr/>
            </a:pPr>
            <a:r>
              <a:rPr lang="ru-RU" sz="1400" b="1" dirty="0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осемь ДТП, </a:t>
            </a:r>
            <a:r>
              <a:rPr lang="ru-RU" sz="1400" b="1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и проследовании железнодорожных </a:t>
            </a:r>
            <a:r>
              <a:rPr lang="ru-RU" sz="1400" b="1" dirty="0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ереездов</a:t>
            </a:r>
            <a:endParaRPr lang="ru-RU" sz="1400" b="1" i="1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5" name="Скругленный прямоугольник 75">
            <a:extLst>
              <a:ext uri="{FF2B5EF4-FFF2-40B4-BE49-F238E27FC236}">
                <a16:creationId xmlns:a16="http://schemas.microsoft.com/office/drawing/2014/main" xmlns="" id="{CA7B4BFF-2B01-434E-B1F1-98505B583DEA}"/>
              </a:ext>
            </a:extLst>
          </p:cNvPr>
          <p:cNvSpPr/>
          <p:nvPr/>
        </p:nvSpPr>
        <p:spPr>
          <a:xfrm>
            <a:off x="125506" y="879562"/>
            <a:ext cx="2610290" cy="864095"/>
          </a:xfrm>
          <a:prstGeom prst="round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endParaRPr lang="ru-RU" sz="700" b="1" dirty="0" smtClean="0">
              <a:solidFill>
                <a:srgbClr val="FF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just"/>
            <a:endParaRPr lang="ru-RU" sz="700" b="1" dirty="0" smtClean="0">
              <a:solidFill>
                <a:srgbClr val="FF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just"/>
            <a:r>
              <a:rPr lang="ru-RU" sz="7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8 февраля 2025 </a:t>
            </a:r>
            <a:r>
              <a:rPr lang="ru-RU" sz="7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. </a:t>
            </a:r>
            <a:r>
              <a:rPr lang="ru-RU" sz="7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  ж.д. </a:t>
            </a:r>
            <a:r>
              <a:rPr lang="ru-RU" sz="7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ереезде 18 км пк 4 перегон Красноярские Столбы </a:t>
            </a:r>
            <a:r>
              <a:rPr lang="ru-RU" sz="7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– </a:t>
            </a:r>
            <a:r>
              <a:rPr lang="ru-RU" sz="7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ивногорск</a:t>
            </a:r>
            <a:r>
              <a:rPr lang="ru-RU" sz="7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(поселок Овсянка)</a:t>
            </a:r>
            <a:r>
              <a:rPr lang="ru-RU" sz="7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допущено </a:t>
            </a:r>
            <a:r>
              <a:rPr lang="ru-RU" sz="7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толкновение </a:t>
            </a:r>
            <a:r>
              <a:rPr lang="ru-RU" sz="7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электропоезда </a:t>
            </a:r>
            <a:r>
              <a:rPr lang="ru-RU" sz="7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</a:t>
            </a:r>
            <a:r>
              <a:rPr lang="ru-RU" sz="7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легковым автомобилем марки «</a:t>
            </a:r>
            <a:r>
              <a:rPr lang="en-US" sz="7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VOLVO</a:t>
            </a:r>
            <a:r>
              <a:rPr lang="ru-RU" sz="7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. Пострадавших и погибших нет. Повреждений обустройств ОАО «РЖД» нет. На электропоезде есть небольшие повреждения.</a:t>
            </a:r>
          </a:p>
          <a:p>
            <a:pPr algn="just"/>
            <a:endParaRPr lang="ru-RU" sz="10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6" name="Скругленный прямоугольник 75">
            <a:extLst>
              <a:ext uri="{FF2B5EF4-FFF2-40B4-BE49-F238E27FC236}">
                <a16:creationId xmlns:a16="http://schemas.microsoft.com/office/drawing/2014/main" xmlns="" id="{CA7B4BFF-2B01-434E-B1F1-98505B583DEA}"/>
              </a:ext>
            </a:extLst>
          </p:cNvPr>
          <p:cNvSpPr/>
          <p:nvPr/>
        </p:nvSpPr>
        <p:spPr>
          <a:xfrm>
            <a:off x="2898068" y="879563"/>
            <a:ext cx="2718048" cy="860934"/>
          </a:xfrm>
          <a:prstGeom prst="round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endParaRPr lang="ru-RU" sz="1000" b="1" dirty="0" smtClean="0">
              <a:solidFill>
                <a:srgbClr val="FF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just"/>
            <a:r>
              <a:rPr lang="ru-RU" sz="7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8 февраля 2025 </a:t>
            </a:r>
            <a:r>
              <a:rPr lang="ru-RU" sz="7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. </a:t>
            </a:r>
            <a:r>
              <a:rPr lang="ru-RU" sz="7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  ж.д. </a:t>
            </a:r>
            <a:r>
              <a:rPr lang="ru-RU" sz="7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ереезде 895 км пк 5 станция Абакумовка </a:t>
            </a:r>
            <a:r>
              <a:rPr lang="ru-RU" sz="7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Иланский район) </a:t>
            </a:r>
            <a:r>
              <a:rPr lang="ru-RU" sz="7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опущено  столкновение  грузового поезда с легковым автомобилем марки «</a:t>
            </a:r>
            <a:r>
              <a:rPr lang="en-US" sz="7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azda </a:t>
            </a:r>
            <a:r>
              <a:rPr lang="en-US" sz="7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xela</a:t>
            </a:r>
            <a:r>
              <a:rPr lang="ru-RU" sz="7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. Повреждений обустройств </a:t>
            </a:r>
            <a:r>
              <a:rPr lang="ru-RU" sz="7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АО «РЖД» нет. На </a:t>
            </a:r>
            <a:r>
              <a:rPr lang="ru-RU" sz="7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езде </a:t>
            </a:r>
            <a:r>
              <a:rPr lang="ru-RU" sz="7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сть небольшие </a:t>
            </a:r>
            <a:r>
              <a:rPr lang="ru-RU" sz="7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вреждения, </a:t>
            </a:r>
            <a:r>
              <a:rPr lang="ru-RU" sz="7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страдал 1 человек</a:t>
            </a:r>
            <a:endParaRPr lang="ru-RU" sz="700" b="1" dirty="0">
              <a:solidFill>
                <a:srgbClr val="FF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just"/>
            <a:endParaRPr lang="ru-RU" sz="10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4" name="Стрелка вправо 23"/>
          <p:cNvSpPr/>
          <p:nvPr/>
        </p:nvSpPr>
        <p:spPr>
          <a:xfrm rot="5400000">
            <a:off x="1089876" y="2039207"/>
            <a:ext cx="705051" cy="216024"/>
          </a:xfrm>
          <a:prstGeom prst="rightArrow">
            <a:avLst/>
          </a:prstGeom>
          <a:solidFill>
            <a:schemeClr val="tx2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marL="8890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1" i="0" u="none" strike="noStrike" kern="0" cap="none" spc="0" normalizeH="0" baseline="0" noProof="0" dirty="0">
              <a:ln>
                <a:noFill/>
              </a:ln>
              <a:solidFill>
                <a:srgbClr val="0066A1">
                  <a:lumMod val="75000"/>
                </a:srgbClr>
              </a:solidFill>
              <a:effectLst/>
              <a:uLnTx/>
              <a:uFillTx/>
              <a:latin typeface="Trebuchet MS"/>
              <a:ea typeface="Calibri" pitchFamily="34" charset="0"/>
              <a:cs typeface="Times New Roman" pitchFamily="18" charset="0"/>
            </a:endParaRPr>
          </a:p>
        </p:txBody>
      </p:sp>
      <p:pic>
        <p:nvPicPr>
          <p:cNvPr id="11" name="Рисунок 10"/>
          <p:cNvPicPr/>
          <p:nvPr/>
        </p:nvPicPr>
        <p:blipFill rotWithShape="1">
          <a:blip r:embed="rId3" cstate="print"/>
          <a:srcRect l="18937" t="13617" r="67608" b="3404"/>
          <a:stretch/>
        </p:blipFill>
        <p:spPr bwMode="auto">
          <a:xfrm>
            <a:off x="125506" y="2571750"/>
            <a:ext cx="2610290" cy="2232248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3" name="Рисунок 12" descr="C:\Users\korchaginav\Desktop\ДТП Абакумовка-Ельник\-5278255829302242349_121.jpg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8068" y="2571750"/>
            <a:ext cx="2718048" cy="2232248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Скругленный прямоугольник 75">
            <a:extLst>
              <a:ext uri="{FF2B5EF4-FFF2-40B4-BE49-F238E27FC236}">
                <a16:creationId xmlns:a16="http://schemas.microsoft.com/office/drawing/2014/main" xmlns="" id="{CA7B4BFF-2B01-434E-B1F1-98505B583DEA}"/>
              </a:ext>
            </a:extLst>
          </p:cNvPr>
          <p:cNvSpPr/>
          <p:nvPr/>
        </p:nvSpPr>
        <p:spPr>
          <a:xfrm>
            <a:off x="5814024" y="876401"/>
            <a:ext cx="3168352" cy="864096"/>
          </a:xfrm>
          <a:prstGeom prst="round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endParaRPr lang="ru-RU" sz="1000" b="1" dirty="0" smtClean="0">
              <a:solidFill>
                <a:srgbClr val="FF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just"/>
            <a:r>
              <a:rPr lang="ru-RU" sz="7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 мая 2025 </a:t>
            </a:r>
            <a:r>
              <a:rPr lang="ru-RU" sz="7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. </a:t>
            </a:r>
            <a:r>
              <a:rPr lang="ru-RU" sz="7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  ж.д. </a:t>
            </a:r>
            <a:r>
              <a:rPr lang="ru-RU" sz="7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ереезде 291 км пк 6 перегон Аскиз </a:t>
            </a:r>
            <a:r>
              <a:rPr lang="ru-RU" sz="7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– Чартыковский </a:t>
            </a:r>
            <a:r>
              <a:rPr lang="ru-RU" sz="7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Аскизский район) </a:t>
            </a:r>
            <a:r>
              <a:rPr lang="ru-RU" sz="7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опущено  столкновение  грузового поезда с легковым автомобилем марки «</a:t>
            </a:r>
            <a:r>
              <a:rPr lang="en-US" sz="7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oyota Probox</a:t>
            </a:r>
            <a:r>
              <a:rPr lang="ru-RU" sz="7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. Повреждений обустройств </a:t>
            </a:r>
            <a:r>
              <a:rPr lang="ru-RU" sz="7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АО «РЖД» нет. На </a:t>
            </a:r>
            <a:r>
              <a:rPr lang="ru-RU" sz="7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езде </a:t>
            </a:r>
            <a:r>
              <a:rPr lang="ru-RU" sz="7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сть небольшие </a:t>
            </a:r>
            <a:r>
              <a:rPr lang="ru-RU" sz="7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вреждения, </a:t>
            </a:r>
            <a:r>
              <a:rPr lang="ru-RU" sz="7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страдал 1 человек</a:t>
            </a:r>
            <a:endParaRPr lang="ru-RU" sz="700" b="1" dirty="0">
              <a:solidFill>
                <a:srgbClr val="FF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just"/>
            <a:endParaRPr lang="ru-RU" sz="10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7" name="Рисунок 16" descr="C:\Users\korchaginav\Desktop\20.05.2025 ДТП ПЧ-8\фото.jpg"/>
          <p:cNvPicPr/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685" r="25655"/>
          <a:stretch/>
        </p:blipFill>
        <p:spPr bwMode="auto">
          <a:xfrm>
            <a:off x="5814024" y="2571750"/>
            <a:ext cx="3168352" cy="2202149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cxnSp>
        <p:nvCxnSpPr>
          <p:cNvPr id="20" name="Прямая соединительная линия 19"/>
          <p:cNvCxnSpPr/>
          <p:nvPr/>
        </p:nvCxnSpPr>
        <p:spPr>
          <a:xfrm>
            <a:off x="0" y="447514"/>
            <a:ext cx="5796136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Скругленный прямоугольник 27">
            <a:extLst>
              <a:ext uri="{FF2B5EF4-FFF2-40B4-BE49-F238E27FC236}">
                <a16:creationId xmlns:lc="http://schemas.openxmlformats.org/drawingml/2006/lockedCanvas" xmlns:a16="http://schemas.microsoft.com/office/drawing/2014/main" xmlns="" id="{CA7B4BFF-2B01-434E-B1F1-98505B583DEA}"/>
              </a:ext>
            </a:extLst>
          </p:cNvPr>
          <p:cNvSpPr/>
          <p:nvPr/>
        </p:nvSpPr>
        <p:spPr>
          <a:xfrm>
            <a:off x="125506" y="521799"/>
            <a:ext cx="2610290" cy="238125"/>
          </a:xfrm>
          <a:prstGeom prst="round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ts val="0"/>
              </a:spcAft>
            </a:pPr>
            <a:r>
              <a:rPr lang="ru-RU" sz="1000" b="1" kern="1200" dirty="0">
                <a:solidFill>
                  <a:srgbClr val="000000"/>
                </a:solidFill>
                <a:effectLst/>
                <a:latin typeface="Tahoma"/>
                <a:ea typeface="Tahoma"/>
              </a:rPr>
              <a:t>Красноярская дистанция пути</a:t>
            </a:r>
            <a:endParaRPr lang="ru-RU" sz="1000" dirty="0">
              <a:effectLst/>
              <a:latin typeface="Times New Roman"/>
              <a:ea typeface="Times New Roman"/>
            </a:endParaRPr>
          </a:p>
        </p:txBody>
      </p:sp>
      <p:sp>
        <p:nvSpPr>
          <p:cNvPr id="29" name="Скругленный прямоугольник 28">
            <a:extLst>
              <a:ext uri="{FF2B5EF4-FFF2-40B4-BE49-F238E27FC236}">
                <a16:creationId xmlns:lc="http://schemas.openxmlformats.org/drawingml/2006/lockedCanvas" xmlns:a16="http://schemas.microsoft.com/office/drawing/2014/main" xmlns="" id="{CA7B4BFF-2B01-434E-B1F1-98505B583DEA}"/>
              </a:ext>
            </a:extLst>
          </p:cNvPr>
          <p:cNvSpPr/>
          <p:nvPr/>
        </p:nvSpPr>
        <p:spPr>
          <a:xfrm>
            <a:off x="2898068" y="521799"/>
            <a:ext cx="2718048" cy="238125"/>
          </a:xfrm>
          <a:prstGeom prst="round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ts val="0"/>
              </a:spcAft>
            </a:pPr>
            <a:r>
              <a:rPr lang="ru-RU" sz="1000" b="1" dirty="0" smtClean="0">
                <a:solidFill>
                  <a:srgbClr val="000000"/>
                </a:solidFill>
                <a:latin typeface="Tahoma"/>
                <a:ea typeface="Tahoma"/>
              </a:rPr>
              <a:t>Абакумовская</a:t>
            </a:r>
            <a:r>
              <a:rPr lang="ru-RU" sz="1000" b="1" kern="1200" dirty="0" smtClean="0">
                <a:solidFill>
                  <a:srgbClr val="000000"/>
                </a:solidFill>
                <a:effectLst/>
                <a:latin typeface="Tahoma"/>
                <a:ea typeface="Tahoma"/>
              </a:rPr>
              <a:t> </a:t>
            </a:r>
            <a:r>
              <a:rPr lang="ru-RU" sz="1000" b="1" kern="1200" dirty="0">
                <a:solidFill>
                  <a:srgbClr val="000000"/>
                </a:solidFill>
                <a:effectLst/>
                <a:latin typeface="Tahoma"/>
                <a:ea typeface="Tahoma"/>
              </a:rPr>
              <a:t>дистанция пути</a:t>
            </a:r>
            <a:endParaRPr lang="ru-RU" sz="1000" dirty="0">
              <a:effectLst/>
              <a:latin typeface="Times New Roman"/>
              <a:ea typeface="Times New Roman"/>
            </a:endParaRPr>
          </a:p>
        </p:txBody>
      </p:sp>
      <p:sp>
        <p:nvSpPr>
          <p:cNvPr id="30" name="Скругленный прямоугольник 29">
            <a:extLst>
              <a:ext uri="{FF2B5EF4-FFF2-40B4-BE49-F238E27FC236}">
                <a16:creationId xmlns:lc="http://schemas.openxmlformats.org/drawingml/2006/lockedCanvas" xmlns:a16="http://schemas.microsoft.com/office/drawing/2014/main" xmlns="" id="{CA7B4BFF-2B01-434E-B1F1-98505B583DEA}"/>
              </a:ext>
            </a:extLst>
          </p:cNvPr>
          <p:cNvSpPr/>
          <p:nvPr/>
        </p:nvSpPr>
        <p:spPr>
          <a:xfrm>
            <a:off x="5814024" y="521798"/>
            <a:ext cx="3168352" cy="238125"/>
          </a:xfrm>
          <a:prstGeom prst="round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ts val="0"/>
              </a:spcAft>
            </a:pPr>
            <a:r>
              <a:rPr lang="ru-RU" sz="1000" b="1" dirty="0" smtClean="0">
                <a:solidFill>
                  <a:srgbClr val="000000"/>
                </a:solidFill>
                <a:latin typeface="Tahoma"/>
                <a:ea typeface="Tahoma"/>
              </a:rPr>
              <a:t>Аскизская</a:t>
            </a:r>
            <a:r>
              <a:rPr lang="ru-RU" sz="1000" b="1" kern="1200" dirty="0" smtClean="0">
                <a:solidFill>
                  <a:srgbClr val="000000"/>
                </a:solidFill>
                <a:effectLst/>
                <a:latin typeface="Tahoma"/>
                <a:ea typeface="Tahoma"/>
              </a:rPr>
              <a:t> </a:t>
            </a:r>
            <a:r>
              <a:rPr lang="ru-RU" sz="1000" b="1" kern="1200" dirty="0">
                <a:solidFill>
                  <a:srgbClr val="000000"/>
                </a:solidFill>
                <a:effectLst/>
                <a:latin typeface="Tahoma"/>
                <a:ea typeface="Tahoma"/>
              </a:rPr>
              <a:t>дистанция пути</a:t>
            </a:r>
            <a:endParaRPr lang="ru-RU" sz="1000" dirty="0">
              <a:effectLst/>
              <a:latin typeface="Times New Roman"/>
              <a:ea typeface="Times New Roman"/>
            </a:endParaRPr>
          </a:p>
        </p:txBody>
      </p:sp>
      <p:sp>
        <p:nvSpPr>
          <p:cNvPr id="33" name="Стрелка вправо 32"/>
          <p:cNvSpPr/>
          <p:nvPr/>
        </p:nvSpPr>
        <p:spPr>
          <a:xfrm rot="5400000">
            <a:off x="3826230" y="2039209"/>
            <a:ext cx="705053" cy="216024"/>
          </a:xfrm>
          <a:prstGeom prst="rightArrow">
            <a:avLst/>
          </a:prstGeom>
          <a:solidFill>
            <a:schemeClr val="tx2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marL="8890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1" i="0" u="none" strike="noStrike" kern="0" cap="none" spc="0" normalizeH="0" baseline="0" noProof="0" dirty="0">
              <a:ln>
                <a:noFill/>
              </a:ln>
              <a:solidFill>
                <a:srgbClr val="0066A1">
                  <a:lumMod val="75000"/>
                </a:srgbClr>
              </a:solidFill>
              <a:effectLst/>
              <a:uLnTx/>
              <a:uFillTx/>
              <a:latin typeface="Trebuchet MS"/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34" name="Стрелка вправо 33"/>
          <p:cNvSpPr/>
          <p:nvPr/>
        </p:nvSpPr>
        <p:spPr>
          <a:xfrm rot="5400000">
            <a:off x="7045675" y="2039209"/>
            <a:ext cx="705052" cy="216024"/>
          </a:xfrm>
          <a:prstGeom prst="rightArrow">
            <a:avLst/>
          </a:prstGeom>
          <a:solidFill>
            <a:schemeClr val="tx2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marL="8890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1" i="0" u="none" strike="noStrike" kern="0" cap="none" spc="0" normalizeH="0" baseline="0" noProof="0" dirty="0">
              <a:ln>
                <a:noFill/>
              </a:ln>
              <a:solidFill>
                <a:srgbClr val="0066A1">
                  <a:lumMod val="75000"/>
                </a:srgbClr>
              </a:solidFill>
              <a:effectLst/>
              <a:uLnTx/>
              <a:uFillTx/>
              <a:latin typeface="Trebuchet MS"/>
              <a:ea typeface="Calibri" pitchFamily="34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9173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20548" y="87474"/>
            <a:ext cx="8316416" cy="307754"/>
          </a:xfrm>
          <a:prstGeom prst="rect">
            <a:avLst/>
          </a:prstGeom>
          <a:noFill/>
        </p:spPr>
        <p:txBody>
          <a:bodyPr wrap="square" lIns="91420" tIns="45709" rIns="91420" bIns="45709" rtlCol="0">
            <a:spAutoFit/>
          </a:bodyPr>
          <a:lstStyle/>
          <a:p>
            <a:pPr algn="just">
              <a:defRPr/>
            </a:pPr>
            <a:r>
              <a:rPr lang="ru-RU" sz="1400" b="1" dirty="0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осемь ДТП, </a:t>
            </a:r>
            <a:r>
              <a:rPr lang="ru-RU" sz="1400" b="1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и проследовании железнодорожных </a:t>
            </a:r>
            <a:r>
              <a:rPr lang="ru-RU" sz="1400" b="1" dirty="0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ереездов</a:t>
            </a:r>
            <a:endParaRPr lang="ru-RU" sz="1400" b="1" i="1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5" name="Скругленный прямоугольник 75">
            <a:extLst>
              <a:ext uri="{FF2B5EF4-FFF2-40B4-BE49-F238E27FC236}">
                <a16:creationId xmlns:a16="http://schemas.microsoft.com/office/drawing/2014/main" xmlns="" id="{CA7B4BFF-2B01-434E-B1F1-98505B583DEA}"/>
              </a:ext>
            </a:extLst>
          </p:cNvPr>
          <p:cNvSpPr/>
          <p:nvPr/>
        </p:nvSpPr>
        <p:spPr>
          <a:xfrm>
            <a:off x="125506" y="879562"/>
            <a:ext cx="2610290" cy="864095"/>
          </a:xfrm>
          <a:prstGeom prst="round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endParaRPr lang="ru-RU" sz="10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6" name="Скругленный прямоугольник 75">
            <a:extLst>
              <a:ext uri="{FF2B5EF4-FFF2-40B4-BE49-F238E27FC236}">
                <a16:creationId xmlns:a16="http://schemas.microsoft.com/office/drawing/2014/main" xmlns="" id="{CA7B4BFF-2B01-434E-B1F1-98505B583DEA}"/>
              </a:ext>
            </a:extLst>
          </p:cNvPr>
          <p:cNvSpPr/>
          <p:nvPr/>
        </p:nvSpPr>
        <p:spPr>
          <a:xfrm>
            <a:off x="2898068" y="879563"/>
            <a:ext cx="2718048" cy="860934"/>
          </a:xfrm>
          <a:prstGeom prst="round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endParaRPr lang="ru-RU" sz="1000" b="1" dirty="0" smtClean="0">
              <a:solidFill>
                <a:srgbClr val="FF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just"/>
            <a:endParaRPr lang="ru-RU" sz="10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4" name="Стрелка вправо 23"/>
          <p:cNvSpPr/>
          <p:nvPr/>
        </p:nvSpPr>
        <p:spPr>
          <a:xfrm rot="5400000">
            <a:off x="1089876" y="2039207"/>
            <a:ext cx="705051" cy="216024"/>
          </a:xfrm>
          <a:prstGeom prst="rightArrow">
            <a:avLst/>
          </a:prstGeom>
          <a:solidFill>
            <a:schemeClr val="tx2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marL="8890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1" i="0" u="none" strike="noStrike" kern="0" cap="none" spc="0" normalizeH="0" baseline="0" noProof="0" dirty="0">
              <a:ln>
                <a:noFill/>
              </a:ln>
              <a:solidFill>
                <a:srgbClr val="0066A1">
                  <a:lumMod val="75000"/>
                </a:srgbClr>
              </a:solidFill>
              <a:effectLst/>
              <a:uLnTx/>
              <a:uFillTx/>
              <a:latin typeface="Trebuchet MS"/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14" name="Скругленный прямоугольник 75">
            <a:extLst>
              <a:ext uri="{FF2B5EF4-FFF2-40B4-BE49-F238E27FC236}">
                <a16:creationId xmlns:a16="http://schemas.microsoft.com/office/drawing/2014/main" xmlns="" id="{CA7B4BFF-2B01-434E-B1F1-98505B583DEA}"/>
              </a:ext>
            </a:extLst>
          </p:cNvPr>
          <p:cNvSpPr/>
          <p:nvPr/>
        </p:nvSpPr>
        <p:spPr>
          <a:xfrm>
            <a:off x="5814024" y="876401"/>
            <a:ext cx="3168352" cy="864096"/>
          </a:xfrm>
          <a:prstGeom prst="round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ru-RU" sz="7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8 августа 2025 </a:t>
            </a:r>
            <a:r>
              <a:rPr lang="ru-RU" sz="7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. </a:t>
            </a:r>
            <a:r>
              <a:rPr lang="ru-RU" sz="7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  ж.д. </a:t>
            </a:r>
            <a:r>
              <a:rPr lang="ru-RU" sz="7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ереезде 73 км пк 3 перегон Карай</a:t>
            </a:r>
            <a:r>
              <a:rPr lang="ru-RU" sz="7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– </a:t>
            </a:r>
            <a:r>
              <a:rPr lang="ru-RU" sz="7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Чульжан </a:t>
            </a:r>
            <a:r>
              <a:rPr lang="ru-RU" sz="7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Междуреченский район) </a:t>
            </a:r>
            <a:r>
              <a:rPr lang="ru-RU" sz="7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опущено  столкновение   поезда с легковым автомобилем марки «</a:t>
            </a:r>
            <a:r>
              <a:rPr lang="en-US" sz="7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koda </a:t>
            </a:r>
            <a:r>
              <a:rPr lang="en-US" sz="7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apid</a:t>
            </a:r>
            <a:r>
              <a:rPr lang="ru-RU" sz="7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. Повреждений обустройств </a:t>
            </a:r>
            <a:r>
              <a:rPr lang="ru-RU" sz="7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АО «РЖД» </a:t>
            </a:r>
            <a:r>
              <a:rPr lang="ru-RU" sz="7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ет</a:t>
            </a:r>
            <a:r>
              <a:rPr lang="ru-RU" sz="7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ru-RU" sz="7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страдал 1 человек</a:t>
            </a:r>
            <a:endParaRPr lang="ru-RU" sz="1000" b="1" dirty="0">
              <a:solidFill>
                <a:srgbClr val="FF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0" y="447514"/>
            <a:ext cx="5796136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Скругленный прямоугольник 27">
            <a:extLst>
              <a:ext uri="{FF2B5EF4-FFF2-40B4-BE49-F238E27FC236}">
                <a16:creationId xmlns:lc="http://schemas.openxmlformats.org/drawingml/2006/lockedCanvas" xmlns:a16="http://schemas.microsoft.com/office/drawing/2014/main" xmlns="" id="{CA7B4BFF-2B01-434E-B1F1-98505B583DEA}"/>
              </a:ext>
            </a:extLst>
          </p:cNvPr>
          <p:cNvSpPr/>
          <p:nvPr/>
        </p:nvSpPr>
        <p:spPr>
          <a:xfrm>
            <a:off x="125506" y="521799"/>
            <a:ext cx="2610290" cy="238125"/>
          </a:xfrm>
          <a:prstGeom prst="round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ts val="0"/>
              </a:spcAft>
            </a:pPr>
            <a:r>
              <a:rPr lang="ru-RU" sz="1000" b="1" kern="1200" dirty="0">
                <a:solidFill>
                  <a:srgbClr val="000000"/>
                </a:solidFill>
                <a:effectLst/>
                <a:latin typeface="Tahoma"/>
                <a:ea typeface="Tahoma"/>
              </a:rPr>
              <a:t>Красноярская дистанция пути</a:t>
            </a:r>
            <a:endParaRPr lang="ru-RU" sz="1000" dirty="0">
              <a:effectLst/>
              <a:latin typeface="Times New Roman"/>
              <a:ea typeface="Times New Roman"/>
            </a:endParaRPr>
          </a:p>
        </p:txBody>
      </p:sp>
      <p:sp>
        <p:nvSpPr>
          <p:cNvPr id="29" name="Скругленный прямоугольник 28">
            <a:extLst>
              <a:ext uri="{FF2B5EF4-FFF2-40B4-BE49-F238E27FC236}">
                <a16:creationId xmlns:lc="http://schemas.openxmlformats.org/drawingml/2006/lockedCanvas" xmlns:a16="http://schemas.microsoft.com/office/drawing/2014/main" xmlns="" id="{CA7B4BFF-2B01-434E-B1F1-98505B583DEA}"/>
              </a:ext>
            </a:extLst>
          </p:cNvPr>
          <p:cNvSpPr/>
          <p:nvPr/>
        </p:nvSpPr>
        <p:spPr>
          <a:xfrm>
            <a:off x="2898068" y="521799"/>
            <a:ext cx="2718048" cy="238125"/>
          </a:xfrm>
          <a:prstGeom prst="round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ts val="0"/>
              </a:spcAft>
            </a:pPr>
            <a:r>
              <a:rPr lang="ru-RU" sz="1000" b="1" dirty="0" smtClean="0">
                <a:solidFill>
                  <a:srgbClr val="000000"/>
                </a:solidFill>
                <a:latin typeface="Tahoma"/>
                <a:ea typeface="Tahoma"/>
              </a:rPr>
              <a:t>Кошурниковская</a:t>
            </a:r>
            <a:r>
              <a:rPr lang="ru-RU" sz="1000" b="1" kern="1200" dirty="0" smtClean="0">
                <a:solidFill>
                  <a:srgbClr val="000000"/>
                </a:solidFill>
                <a:effectLst/>
                <a:latin typeface="Tahoma"/>
                <a:ea typeface="Tahoma"/>
              </a:rPr>
              <a:t> </a:t>
            </a:r>
            <a:r>
              <a:rPr lang="ru-RU" sz="1000" b="1" kern="1200" dirty="0">
                <a:solidFill>
                  <a:srgbClr val="000000"/>
                </a:solidFill>
                <a:effectLst/>
                <a:latin typeface="Tahoma"/>
                <a:ea typeface="Tahoma"/>
              </a:rPr>
              <a:t>дистанция пути</a:t>
            </a:r>
            <a:endParaRPr lang="ru-RU" sz="1000" dirty="0">
              <a:effectLst/>
              <a:latin typeface="Times New Roman"/>
              <a:ea typeface="Times New Roman"/>
            </a:endParaRPr>
          </a:p>
        </p:txBody>
      </p:sp>
      <p:sp>
        <p:nvSpPr>
          <p:cNvPr id="30" name="Скругленный прямоугольник 29">
            <a:extLst>
              <a:ext uri="{FF2B5EF4-FFF2-40B4-BE49-F238E27FC236}">
                <a16:creationId xmlns:lc="http://schemas.openxmlformats.org/drawingml/2006/lockedCanvas" xmlns:a16="http://schemas.microsoft.com/office/drawing/2014/main" xmlns="" id="{CA7B4BFF-2B01-434E-B1F1-98505B583DEA}"/>
              </a:ext>
            </a:extLst>
          </p:cNvPr>
          <p:cNvSpPr/>
          <p:nvPr/>
        </p:nvSpPr>
        <p:spPr>
          <a:xfrm>
            <a:off x="5814024" y="521798"/>
            <a:ext cx="3168352" cy="238125"/>
          </a:xfrm>
          <a:prstGeom prst="round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ts val="0"/>
              </a:spcAft>
            </a:pPr>
            <a:r>
              <a:rPr lang="ru-RU" sz="1000" b="1" dirty="0" smtClean="0">
                <a:solidFill>
                  <a:srgbClr val="000000"/>
                </a:solidFill>
                <a:latin typeface="Tahoma"/>
                <a:ea typeface="Tahoma"/>
              </a:rPr>
              <a:t>Чульжанская</a:t>
            </a:r>
            <a:r>
              <a:rPr lang="ru-RU" sz="1000" b="1" kern="1200" dirty="0" smtClean="0">
                <a:solidFill>
                  <a:srgbClr val="000000"/>
                </a:solidFill>
                <a:effectLst/>
                <a:latin typeface="Tahoma"/>
                <a:ea typeface="Tahoma"/>
              </a:rPr>
              <a:t> </a:t>
            </a:r>
            <a:r>
              <a:rPr lang="ru-RU" sz="1000" b="1" kern="1200" dirty="0">
                <a:solidFill>
                  <a:srgbClr val="000000"/>
                </a:solidFill>
                <a:effectLst/>
                <a:latin typeface="Tahoma"/>
                <a:ea typeface="Tahoma"/>
              </a:rPr>
              <a:t>дистанция пути</a:t>
            </a:r>
            <a:endParaRPr lang="ru-RU" sz="1000" dirty="0">
              <a:effectLst/>
              <a:latin typeface="Times New Roman"/>
              <a:ea typeface="Times New Roman"/>
            </a:endParaRPr>
          </a:p>
        </p:txBody>
      </p:sp>
      <p:sp>
        <p:nvSpPr>
          <p:cNvPr id="33" name="Стрелка вправо 32"/>
          <p:cNvSpPr/>
          <p:nvPr/>
        </p:nvSpPr>
        <p:spPr>
          <a:xfrm rot="5400000">
            <a:off x="3826230" y="2043968"/>
            <a:ext cx="705053" cy="216024"/>
          </a:xfrm>
          <a:prstGeom prst="rightArrow">
            <a:avLst/>
          </a:prstGeom>
          <a:solidFill>
            <a:schemeClr val="tx2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marL="8890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1" i="0" u="none" strike="noStrike" kern="0" cap="none" spc="0" normalizeH="0" baseline="0" noProof="0" dirty="0">
              <a:ln>
                <a:noFill/>
              </a:ln>
              <a:solidFill>
                <a:srgbClr val="0066A1">
                  <a:lumMod val="75000"/>
                </a:srgbClr>
              </a:solidFill>
              <a:effectLst/>
              <a:uLnTx/>
              <a:uFillTx/>
              <a:latin typeface="Trebuchet MS"/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34" name="Стрелка вправо 33"/>
          <p:cNvSpPr/>
          <p:nvPr/>
        </p:nvSpPr>
        <p:spPr>
          <a:xfrm rot="5400000">
            <a:off x="7045675" y="2039209"/>
            <a:ext cx="705052" cy="216024"/>
          </a:xfrm>
          <a:prstGeom prst="rightArrow">
            <a:avLst/>
          </a:prstGeom>
          <a:solidFill>
            <a:schemeClr val="tx2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marL="8890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1" i="0" u="none" strike="noStrike" kern="0" cap="none" spc="0" normalizeH="0" baseline="0" noProof="0" dirty="0">
              <a:ln>
                <a:noFill/>
              </a:ln>
              <a:solidFill>
                <a:srgbClr val="0066A1">
                  <a:lumMod val="75000"/>
                </a:srgbClr>
              </a:solidFill>
              <a:effectLst/>
              <a:uLnTx/>
              <a:uFillTx/>
              <a:latin typeface="Trebuchet MS"/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82521" y="789550"/>
            <a:ext cx="255628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endParaRPr lang="ru-RU" sz="700" b="1" dirty="0" smtClean="0">
              <a:solidFill>
                <a:srgbClr val="FF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just"/>
            <a:r>
              <a:rPr lang="ru-RU" sz="7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9 </a:t>
            </a:r>
            <a:r>
              <a:rPr lang="ru-RU" sz="7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юня 2025 г. на  ж.д. </a:t>
            </a:r>
            <a:r>
              <a:rPr lang="ru-RU" sz="7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ереезде 4 км пк 1 перегон Красноярские Столбы – Дивногорск </a:t>
            </a:r>
            <a:r>
              <a:rPr lang="ru-RU" sz="7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г. Красноярск) </a:t>
            </a:r>
            <a:r>
              <a:rPr lang="ru-RU" sz="7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опущено  столкновение  электропоезда с легковым автомобилем марки «</a:t>
            </a:r>
            <a:r>
              <a:rPr lang="en-US" sz="7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ANDERO</a:t>
            </a:r>
            <a:r>
              <a:rPr lang="ru-RU" sz="7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7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nault</a:t>
            </a:r>
            <a:r>
              <a:rPr lang="ru-RU" sz="7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. Повреждений обустройств ОАО «РЖД» нет. На поезде есть небольшие повреждения.</a:t>
            </a:r>
          </a:p>
        </p:txBody>
      </p:sp>
      <p:pic>
        <p:nvPicPr>
          <p:cNvPr id="18" name="Рисунок 17" descr="C:\Users\korchaginav\Desktop\ДТП Кр.Столбы-Енисей\фото\IMG-20250629-WA0003.jpg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506" y="2571750"/>
            <a:ext cx="2610289" cy="2232248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Прямоугольник 2"/>
          <p:cNvSpPr/>
          <p:nvPr/>
        </p:nvSpPr>
        <p:spPr>
          <a:xfrm>
            <a:off x="2898068" y="881883"/>
            <a:ext cx="2718048" cy="8463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7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 августа 2025 г. на  ж.д. </a:t>
            </a:r>
            <a:r>
              <a:rPr lang="ru-RU" sz="7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ереезде 570 км пк 4 Путевой пост 570 </a:t>
            </a:r>
            <a:r>
              <a:rPr lang="ru-RU" sz="7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м </a:t>
            </a:r>
            <a:r>
              <a:rPr lang="ru-RU" sz="7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Курагинский </a:t>
            </a:r>
            <a:r>
              <a:rPr lang="ru-RU" sz="7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йон) </a:t>
            </a:r>
            <a:r>
              <a:rPr lang="ru-RU" sz="7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опущено  столкновение  одиночного электровоза с легковым автомобилем марки «</a:t>
            </a:r>
            <a:r>
              <a:rPr lang="en-US" sz="7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yundai Creta</a:t>
            </a:r>
            <a:r>
              <a:rPr lang="ru-RU" sz="7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. Поврежден локомотив, отброшенным автомобилем полностью разрушена опора контактной </a:t>
            </a:r>
            <a:r>
              <a:rPr lang="ru-RU" sz="7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ети, </a:t>
            </a:r>
            <a:r>
              <a:rPr lang="ru-RU" sz="7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страдал 1 человек</a:t>
            </a:r>
            <a:endParaRPr lang="ru-RU" sz="700" b="1" dirty="0">
              <a:solidFill>
                <a:srgbClr val="FF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21" name="Рисунок 20" descr="C:\Users\korchaginav\Desktop\28.08.2025  Карай - Чульжан ДТП\IMG-20250828-WA0005.jpg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14024" y="2571750"/>
            <a:ext cx="3168352" cy="2232248"/>
          </a:xfrm>
          <a:prstGeom prst="rect">
            <a:avLst/>
          </a:prstGeom>
          <a:noFill/>
          <a:ln>
            <a:noFill/>
          </a:ln>
        </p:spPr>
      </p:pic>
      <p:pic>
        <p:nvPicPr>
          <p:cNvPr id="19" name="Рисунок 18" descr="C:\Users\korchaginav\Desktop\№1 переезды 2025 год\ДТП\2025.08.20 ДТП ПП570км\1755657472006.jpg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8068" y="2571751"/>
            <a:ext cx="2718048" cy="223224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50883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20548" y="87474"/>
            <a:ext cx="8316416" cy="307754"/>
          </a:xfrm>
          <a:prstGeom prst="rect">
            <a:avLst/>
          </a:prstGeom>
          <a:noFill/>
        </p:spPr>
        <p:txBody>
          <a:bodyPr wrap="square" lIns="91420" tIns="45709" rIns="91420" bIns="45709" rtlCol="0">
            <a:spAutoFit/>
          </a:bodyPr>
          <a:lstStyle/>
          <a:p>
            <a:pPr algn="just">
              <a:defRPr/>
            </a:pPr>
            <a:r>
              <a:rPr lang="ru-RU" sz="1400" b="1" dirty="0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осемь ДТП, </a:t>
            </a:r>
            <a:r>
              <a:rPr lang="ru-RU" sz="1400" b="1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и проследовании железнодорожных </a:t>
            </a:r>
            <a:r>
              <a:rPr lang="ru-RU" sz="1400" b="1" dirty="0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ереездов</a:t>
            </a:r>
            <a:endParaRPr lang="ru-RU" sz="1400" b="1" i="1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5" name="Скругленный прямоугольник 75">
            <a:extLst>
              <a:ext uri="{FF2B5EF4-FFF2-40B4-BE49-F238E27FC236}">
                <a16:creationId xmlns:a16="http://schemas.microsoft.com/office/drawing/2014/main" xmlns="" id="{CA7B4BFF-2B01-434E-B1F1-98505B583DEA}"/>
              </a:ext>
            </a:extLst>
          </p:cNvPr>
          <p:cNvSpPr/>
          <p:nvPr/>
        </p:nvSpPr>
        <p:spPr>
          <a:xfrm>
            <a:off x="152508" y="879563"/>
            <a:ext cx="2583288" cy="792088"/>
          </a:xfrm>
          <a:prstGeom prst="round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endParaRPr lang="ru-RU" sz="10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6" name="Скругленный прямоугольник 75">
            <a:extLst>
              <a:ext uri="{FF2B5EF4-FFF2-40B4-BE49-F238E27FC236}">
                <a16:creationId xmlns:a16="http://schemas.microsoft.com/office/drawing/2014/main" xmlns="" id="{CA7B4BFF-2B01-434E-B1F1-98505B583DEA}"/>
              </a:ext>
            </a:extLst>
          </p:cNvPr>
          <p:cNvSpPr/>
          <p:nvPr/>
        </p:nvSpPr>
        <p:spPr>
          <a:xfrm>
            <a:off x="2898068" y="879563"/>
            <a:ext cx="2718048" cy="792088"/>
          </a:xfrm>
          <a:prstGeom prst="round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endParaRPr lang="ru-RU" sz="1000" b="1" dirty="0" smtClean="0">
              <a:solidFill>
                <a:srgbClr val="FF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just"/>
            <a:endParaRPr lang="ru-RU" sz="10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4" name="Стрелка вправо 23"/>
          <p:cNvSpPr/>
          <p:nvPr/>
        </p:nvSpPr>
        <p:spPr>
          <a:xfrm rot="5400000">
            <a:off x="1089876" y="2039207"/>
            <a:ext cx="705051" cy="216024"/>
          </a:xfrm>
          <a:prstGeom prst="rightArrow">
            <a:avLst/>
          </a:prstGeom>
          <a:solidFill>
            <a:schemeClr val="tx2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marL="8890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1" i="0" u="none" strike="noStrike" kern="0" cap="none" spc="0" normalizeH="0" baseline="0" noProof="0" dirty="0">
              <a:ln>
                <a:noFill/>
              </a:ln>
              <a:solidFill>
                <a:srgbClr val="0066A1">
                  <a:lumMod val="75000"/>
                </a:srgbClr>
              </a:solidFill>
              <a:effectLst/>
              <a:uLnTx/>
              <a:uFillTx/>
              <a:latin typeface="Trebuchet MS"/>
              <a:ea typeface="Calibri" pitchFamily="34" charset="0"/>
              <a:cs typeface="Times New Roman" pitchFamily="18" charset="0"/>
            </a:endParaRP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0" y="447514"/>
            <a:ext cx="5796136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Скругленный прямоугольник 27">
            <a:extLst>
              <a:ext uri="{FF2B5EF4-FFF2-40B4-BE49-F238E27FC236}">
                <a16:creationId xmlns:lc="http://schemas.openxmlformats.org/drawingml/2006/lockedCanvas" xmlns:a16="http://schemas.microsoft.com/office/drawing/2014/main" xmlns="" id="{CA7B4BFF-2B01-434E-B1F1-98505B583DEA}"/>
              </a:ext>
            </a:extLst>
          </p:cNvPr>
          <p:cNvSpPr/>
          <p:nvPr/>
        </p:nvSpPr>
        <p:spPr>
          <a:xfrm>
            <a:off x="152508" y="521799"/>
            <a:ext cx="2583288" cy="238125"/>
          </a:xfrm>
          <a:prstGeom prst="round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ts val="0"/>
              </a:spcAft>
            </a:pPr>
            <a:r>
              <a:rPr lang="ru-RU" sz="1000" b="1" kern="1200" dirty="0" smtClean="0">
                <a:solidFill>
                  <a:srgbClr val="000000"/>
                </a:solidFill>
                <a:effectLst/>
                <a:latin typeface="Tahoma"/>
                <a:ea typeface="Tahoma"/>
              </a:rPr>
              <a:t>Кошурниковская </a:t>
            </a:r>
            <a:r>
              <a:rPr lang="ru-RU" sz="1000" b="1" kern="1200" dirty="0">
                <a:solidFill>
                  <a:srgbClr val="000000"/>
                </a:solidFill>
                <a:effectLst/>
                <a:latin typeface="Tahoma"/>
                <a:ea typeface="Tahoma"/>
              </a:rPr>
              <a:t>дистанция пути</a:t>
            </a:r>
            <a:endParaRPr lang="ru-RU" sz="1000" dirty="0">
              <a:effectLst/>
              <a:latin typeface="Times New Roman"/>
              <a:ea typeface="Times New Roman"/>
            </a:endParaRPr>
          </a:p>
        </p:txBody>
      </p:sp>
      <p:sp>
        <p:nvSpPr>
          <p:cNvPr id="29" name="Скругленный прямоугольник 28">
            <a:extLst>
              <a:ext uri="{FF2B5EF4-FFF2-40B4-BE49-F238E27FC236}">
                <a16:creationId xmlns:lc="http://schemas.openxmlformats.org/drawingml/2006/lockedCanvas" xmlns:a16="http://schemas.microsoft.com/office/drawing/2014/main" xmlns="" id="{CA7B4BFF-2B01-434E-B1F1-98505B583DEA}"/>
              </a:ext>
            </a:extLst>
          </p:cNvPr>
          <p:cNvSpPr/>
          <p:nvPr/>
        </p:nvSpPr>
        <p:spPr>
          <a:xfrm>
            <a:off x="2898068" y="521799"/>
            <a:ext cx="2718048" cy="238125"/>
          </a:xfrm>
          <a:prstGeom prst="round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ts val="0"/>
              </a:spcAft>
            </a:pPr>
            <a:r>
              <a:rPr lang="ru-RU" sz="1000" b="1" dirty="0" smtClean="0">
                <a:solidFill>
                  <a:srgbClr val="000000"/>
                </a:solidFill>
                <a:latin typeface="Tahoma"/>
                <a:ea typeface="Tahoma"/>
              </a:rPr>
              <a:t>Иланская</a:t>
            </a:r>
            <a:r>
              <a:rPr lang="ru-RU" sz="1000" b="1" kern="1200" dirty="0" smtClean="0">
                <a:solidFill>
                  <a:srgbClr val="000000"/>
                </a:solidFill>
                <a:effectLst/>
                <a:latin typeface="Tahoma"/>
                <a:ea typeface="Tahoma"/>
              </a:rPr>
              <a:t> </a:t>
            </a:r>
            <a:r>
              <a:rPr lang="ru-RU" sz="1000" b="1" kern="1200" dirty="0">
                <a:solidFill>
                  <a:srgbClr val="000000"/>
                </a:solidFill>
                <a:effectLst/>
                <a:latin typeface="Tahoma"/>
                <a:ea typeface="Tahoma"/>
              </a:rPr>
              <a:t>дистанция пути</a:t>
            </a:r>
            <a:endParaRPr lang="ru-RU" sz="1000" dirty="0">
              <a:effectLst/>
              <a:latin typeface="Times New Roman"/>
              <a:ea typeface="Times New Roman"/>
            </a:endParaRPr>
          </a:p>
        </p:txBody>
      </p:sp>
      <p:sp>
        <p:nvSpPr>
          <p:cNvPr id="33" name="Стрелка вправо 32"/>
          <p:cNvSpPr/>
          <p:nvPr/>
        </p:nvSpPr>
        <p:spPr>
          <a:xfrm rot="5400000">
            <a:off x="3904564" y="2059047"/>
            <a:ext cx="705053" cy="216024"/>
          </a:xfrm>
          <a:prstGeom prst="rightArrow">
            <a:avLst/>
          </a:prstGeom>
          <a:solidFill>
            <a:schemeClr val="tx2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marL="8890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1" i="0" u="none" strike="noStrike" kern="0" cap="none" spc="0" normalizeH="0" baseline="0" noProof="0" dirty="0">
              <a:ln>
                <a:noFill/>
              </a:ln>
              <a:solidFill>
                <a:srgbClr val="0066A1">
                  <a:lumMod val="75000"/>
                </a:srgbClr>
              </a:solidFill>
              <a:effectLst/>
              <a:uLnTx/>
              <a:uFillTx/>
              <a:latin typeface="Trebuchet MS"/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52508" y="996138"/>
            <a:ext cx="2556284" cy="6309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7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8</a:t>
            </a:r>
            <a:r>
              <a:rPr lang="ru-RU" sz="7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ноября </a:t>
            </a:r>
            <a:r>
              <a:rPr lang="ru-RU" sz="7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25 г. на  ж.д. </a:t>
            </a:r>
            <a:r>
              <a:rPr lang="ru-RU" sz="7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ереезде </a:t>
            </a:r>
            <a:r>
              <a:rPr lang="ru-RU" sz="7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490 </a:t>
            </a:r>
            <a:r>
              <a:rPr lang="ru-RU" sz="7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м пк </a:t>
            </a:r>
            <a:r>
              <a:rPr lang="ru-RU" sz="7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6   ст. Курагино </a:t>
            </a:r>
            <a:r>
              <a:rPr lang="ru-RU" sz="7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</a:t>
            </a:r>
            <a:r>
              <a:rPr lang="ru-RU" sz="7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урагинский район</a:t>
            </a:r>
            <a:r>
              <a:rPr lang="ru-RU" sz="7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 </a:t>
            </a:r>
            <a:r>
              <a:rPr lang="ru-RU" sz="7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опущено столкновение грузового поезда с легковым автомобилем ВАЗ 2106, </a:t>
            </a:r>
            <a:r>
              <a:rPr lang="ru-RU" sz="7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одитель доставлен в больницу</a:t>
            </a:r>
            <a:endParaRPr lang="ru-RU" sz="700" b="1" dirty="0">
              <a:solidFill>
                <a:srgbClr val="FF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885458" y="994559"/>
            <a:ext cx="2718048" cy="6309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7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6</a:t>
            </a:r>
            <a:r>
              <a:rPr lang="ru-RU" sz="7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декабря </a:t>
            </a:r>
            <a:r>
              <a:rPr lang="ru-RU" sz="7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25 г. на  ж.д. </a:t>
            </a:r>
            <a:r>
              <a:rPr lang="ru-RU" sz="7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ереезде </a:t>
            </a:r>
            <a:r>
              <a:rPr lang="ru-RU" sz="7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</a:t>
            </a:r>
            <a:r>
              <a:rPr lang="ru-RU" sz="7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7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м пк </a:t>
            </a:r>
            <a:r>
              <a:rPr lang="ru-RU" sz="7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6</a:t>
            </a:r>
            <a:r>
              <a:rPr lang="ru-RU" sz="7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7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ст. Иланка, парк Кан-</a:t>
            </a:r>
            <a:r>
              <a:rPr lang="en-US" sz="7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I,</a:t>
            </a:r>
            <a:r>
              <a:rPr lang="ru-RU" sz="7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г. Канск ул. Муро</a:t>
            </a:r>
            <a:r>
              <a:rPr lang="ru-RU" sz="7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</a:t>
            </a:r>
            <a:r>
              <a:rPr lang="ru-RU" sz="7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кая,</a:t>
            </a:r>
            <a:r>
              <a:rPr lang="en-US" sz="7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7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Канский район)</a:t>
            </a:r>
            <a:r>
              <a:rPr lang="en-US" sz="7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7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опущено</a:t>
            </a:r>
            <a:r>
              <a:rPr lang="en-US" sz="7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7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толкновение  </a:t>
            </a:r>
            <a:r>
              <a:rPr lang="ru-RU" sz="7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епловоза с легковым автомобилем марки «</a:t>
            </a:r>
            <a:r>
              <a:rPr lang="en-US" sz="7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AZDA Axela</a:t>
            </a:r>
            <a:r>
              <a:rPr lang="ru-RU" sz="7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. Повреждений обустройств ОАО «РЖД» нет. </a:t>
            </a:r>
          </a:p>
        </p:txBody>
      </p:sp>
      <p:graphicFrame>
        <p:nvGraphicFramePr>
          <p:cNvPr id="22" name="Диаграмма 21"/>
          <p:cNvGraphicFramePr/>
          <p:nvPr>
            <p:extLst>
              <p:ext uri="{D42A27DB-BD31-4B8C-83A1-F6EECF244321}">
                <p14:modId xmlns:p14="http://schemas.microsoft.com/office/powerpoint/2010/main" val="4055147975"/>
              </p:ext>
            </p:extLst>
          </p:nvPr>
        </p:nvGraphicFramePr>
        <p:xfrm>
          <a:off x="6012160" y="521799"/>
          <a:ext cx="2916324" cy="4282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17" name="Рисунок 16" descr="C:\Users\korchaginav\Desktop\№8 ДТП ПЧ-5\Фото ДТП\IMG_20251208_105604_425.jpg"/>
          <p:cNvPicPr/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154" t="15499" r="418" b="19743"/>
          <a:stretch/>
        </p:blipFill>
        <p:spPr bwMode="auto">
          <a:xfrm>
            <a:off x="2885458" y="2571750"/>
            <a:ext cx="2730658" cy="2232248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21" name="Рисунок 20" descr="C:\Users\korchaginav\Desktop\№53333 тел. ЦДИ\ДТП ПЧ-10 18.11.2025\материал\1,1.jpg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508" y="2571750"/>
            <a:ext cx="2556283" cy="223224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38351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Вердана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8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Воздушный поток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9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Воздушный поток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Изящная">
      <a:majorFont>
        <a:latin typeface="Trebuchet MS"/>
        <a:ea typeface=""/>
        <a:cs typeface=""/>
        <a:font script="Jpan" typeface="HG丸ｺﾞｼｯｸM-PRO"/>
        <a:font script="Hang" typeface="HY그래픽M"/>
        <a:font script="Hans" typeface="黑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Trebuchet MS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394A58">
            <a:lumMod val="20000"/>
            <a:lumOff val="80000"/>
          </a:srgbClr>
        </a:solidFill>
        <a:ln w="12700" cap="flat" cmpd="sng" algn="ctr">
          <a:solidFill>
            <a:sysClr val="window" lastClr="FFFFFF"/>
          </a:solidFill>
          <a:prstDash val="solid"/>
          <a:miter lim="800000"/>
        </a:ln>
        <a:effectLst/>
      </a:spPr>
      <a:bodyPr rtlCol="0" anchor="ctr"/>
      <a:lstStyle>
        <a:defPPr marL="88900" marR="0" algn="just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sz="900" b="1" kern="0" dirty="0" smtClean="0">
            <a:solidFill>
              <a:srgbClr val="0066A1">
                <a:lumMod val="75000"/>
              </a:srgbClr>
            </a:solidFill>
            <a:latin typeface="Trebuchet MS"/>
            <a:ea typeface="Calibri" pitchFamily="34" charset="0"/>
            <a:cs typeface="Times New Roman" pitchFamily="18" charset="0"/>
          </a:defRPr>
        </a:defPPr>
      </a:lstStyle>
    </a:spDef>
  </a:objectDefaults>
  <a:extraClrSchemeLst/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5642</TotalTime>
  <Words>1020</Words>
  <Application>Microsoft Office PowerPoint</Application>
  <PresentationFormat>Экран (16:9)</PresentationFormat>
  <Paragraphs>47</Paragraphs>
  <Slides>5</Slides>
  <Notes>5</Notes>
  <HiddenSlides>0</HiddenSlides>
  <MMClips>0</MMClips>
  <ScaleCrop>false</ScaleCrop>
  <HeadingPairs>
    <vt:vector size="6" baseType="variant">
      <vt:variant>
        <vt:lpstr>Тема</vt:lpstr>
      </vt:variant>
      <vt:variant>
        <vt:i4>4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5</vt:i4>
      </vt:variant>
    </vt:vector>
  </HeadingPairs>
  <TitlesOfParts>
    <vt:vector size="10" baseType="lpstr">
      <vt:lpstr>Тема Office</vt:lpstr>
      <vt:lpstr>8_Специальное оформление</vt:lpstr>
      <vt:lpstr>9_Специальное оформление</vt:lpstr>
      <vt:lpstr>1_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User</dc:creator>
  <cp:lastModifiedBy>korchaginav</cp:lastModifiedBy>
  <cp:revision>9299</cp:revision>
  <cp:lastPrinted>2024-08-30T00:23:45Z</cp:lastPrinted>
  <dcterms:created xsi:type="dcterms:W3CDTF">2011-05-23T14:04:51Z</dcterms:created>
  <dcterms:modified xsi:type="dcterms:W3CDTF">2026-01-15T08:07:09Z</dcterms:modified>
</cp:coreProperties>
</file>